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7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6" r:id="rId2"/>
    <p:sldId id="262" r:id="rId3"/>
    <p:sldId id="265" r:id="rId4"/>
    <p:sldId id="267" r:id="rId5"/>
    <p:sldId id="264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D7D9"/>
    <a:srgbClr val="C3CFE1"/>
    <a:srgbClr val="6F8DB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CD02E3-132B-40F3-B6A0-926652F128C7}" v="18503" dt="2024-12-01T01:40:58.72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8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J Grant" userId="21cab94c-7745-4db5-aa88-56cdc0183ba7" providerId="ADAL" clId="{C8CD02E3-132B-40F3-B6A0-926652F128C7}"/>
    <pc:docChg chg="undo custSel addSld delSld modSld sldOrd">
      <pc:chgData name="PJ Grant" userId="21cab94c-7745-4db5-aa88-56cdc0183ba7" providerId="ADAL" clId="{C8CD02E3-132B-40F3-B6A0-926652F128C7}" dt="2024-12-01T02:34:03.041" v="41570" actId="478"/>
      <pc:docMkLst>
        <pc:docMk/>
      </pc:docMkLst>
      <pc:sldChg chg="del">
        <pc:chgData name="PJ Grant" userId="21cab94c-7745-4db5-aa88-56cdc0183ba7" providerId="ADAL" clId="{C8CD02E3-132B-40F3-B6A0-926652F128C7}" dt="2024-11-30T23:47:37.486" v="32785" actId="47"/>
        <pc:sldMkLst>
          <pc:docMk/>
          <pc:sldMk cId="3245668722" sldId="256"/>
        </pc:sldMkLst>
      </pc:sldChg>
      <pc:sldChg chg="del">
        <pc:chgData name="PJ Grant" userId="21cab94c-7745-4db5-aa88-56cdc0183ba7" providerId="ADAL" clId="{C8CD02E3-132B-40F3-B6A0-926652F128C7}" dt="2024-11-30T23:47:37.486" v="32785" actId="47"/>
        <pc:sldMkLst>
          <pc:docMk/>
          <pc:sldMk cId="3402126679" sldId="257"/>
        </pc:sldMkLst>
      </pc:sldChg>
      <pc:sldChg chg="del">
        <pc:chgData name="PJ Grant" userId="21cab94c-7745-4db5-aa88-56cdc0183ba7" providerId="ADAL" clId="{C8CD02E3-132B-40F3-B6A0-926652F128C7}" dt="2024-11-30T23:47:37.486" v="32785" actId="47"/>
        <pc:sldMkLst>
          <pc:docMk/>
          <pc:sldMk cId="1915497536" sldId="258"/>
        </pc:sldMkLst>
      </pc:sldChg>
      <pc:sldChg chg="del">
        <pc:chgData name="PJ Grant" userId="21cab94c-7745-4db5-aa88-56cdc0183ba7" providerId="ADAL" clId="{C8CD02E3-132B-40F3-B6A0-926652F128C7}" dt="2024-11-30T23:47:37.486" v="32785" actId="47"/>
        <pc:sldMkLst>
          <pc:docMk/>
          <pc:sldMk cId="4179704141" sldId="259"/>
        </pc:sldMkLst>
      </pc:sldChg>
      <pc:sldChg chg="del">
        <pc:chgData name="PJ Grant" userId="21cab94c-7745-4db5-aa88-56cdc0183ba7" providerId="ADAL" clId="{C8CD02E3-132B-40F3-B6A0-926652F128C7}" dt="2024-11-30T23:47:37.486" v="32785" actId="47"/>
        <pc:sldMkLst>
          <pc:docMk/>
          <pc:sldMk cId="3321165102" sldId="260"/>
        </pc:sldMkLst>
      </pc:sldChg>
      <pc:sldChg chg="addSp delSp modSp del mod ord">
        <pc:chgData name="PJ Grant" userId="21cab94c-7745-4db5-aa88-56cdc0183ba7" providerId="ADAL" clId="{C8CD02E3-132B-40F3-B6A0-926652F128C7}" dt="2024-11-30T23:47:37.486" v="32785" actId="47"/>
        <pc:sldMkLst>
          <pc:docMk/>
          <pc:sldMk cId="233223444" sldId="261"/>
        </pc:sldMkLst>
        <pc:spChg chg="mod">
          <ac:chgData name="PJ Grant" userId="21cab94c-7745-4db5-aa88-56cdc0183ba7" providerId="ADAL" clId="{C8CD02E3-132B-40F3-B6A0-926652F128C7}" dt="2024-11-30T19:25:02.735" v="437" actId="14100"/>
          <ac:spMkLst>
            <pc:docMk/>
            <pc:sldMk cId="233223444" sldId="261"/>
            <ac:spMk id="11" creationId="{4EC5555D-07C8-4D00-C802-FC96A21FC29F}"/>
          </ac:spMkLst>
        </pc:spChg>
        <pc:spChg chg="del mod">
          <ac:chgData name="PJ Grant" userId="21cab94c-7745-4db5-aa88-56cdc0183ba7" providerId="ADAL" clId="{C8CD02E3-132B-40F3-B6A0-926652F128C7}" dt="2024-11-30T19:29:15.477" v="784" actId="478"/>
          <ac:spMkLst>
            <pc:docMk/>
            <pc:sldMk cId="233223444" sldId="261"/>
            <ac:spMk id="12" creationId="{EBCE36ED-CFD1-11BD-2BF6-92DE9E953059}"/>
          </ac:spMkLst>
        </pc:spChg>
        <pc:spChg chg="del mod">
          <ac:chgData name="PJ Grant" userId="21cab94c-7745-4db5-aa88-56cdc0183ba7" providerId="ADAL" clId="{C8CD02E3-132B-40F3-B6A0-926652F128C7}" dt="2024-11-30T19:29:15.477" v="784" actId="478"/>
          <ac:spMkLst>
            <pc:docMk/>
            <pc:sldMk cId="233223444" sldId="261"/>
            <ac:spMk id="13" creationId="{CE54B6C9-9AD8-1B2F-82B8-D535CC8AB315}"/>
          </ac:spMkLst>
        </pc:spChg>
        <pc:spChg chg="mod">
          <ac:chgData name="PJ Grant" userId="21cab94c-7745-4db5-aa88-56cdc0183ba7" providerId="ADAL" clId="{C8CD02E3-132B-40F3-B6A0-926652F128C7}" dt="2024-11-30T19:29:07.045" v="781" actId="1076"/>
          <ac:spMkLst>
            <pc:docMk/>
            <pc:sldMk cId="233223444" sldId="261"/>
            <ac:spMk id="14" creationId="{CD25F384-C021-A1D3-6BE9-16FBE9686E13}"/>
          </ac:spMkLst>
        </pc:spChg>
        <pc:spChg chg="mod">
          <ac:chgData name="PJ Grant" userId="21cab94c-7745-4db5-aa88-56cdc0183ba7" providerId="ADAL" clId="{C8CD02E3-132B-40F3-B6A0-926652F128C7}" dt="2024-11-30T19:29:03.381" v="780" actId="1076"/>
          <ac:spMkLst>
            <pc:docMk/>
            <pc:sldMk cId="233223444" sldId="261"/>
            <ac:spMk id="15" creationId="{18F53035-F3FE-EE64-834E-CE33C9131699}"/>
          </ac:spMkLst>
        </pc:spChg>
        <pc:spChg chg="mod">
          <ac:chgData name="PJ Grant" userId="21cab94c-7745-4db5-aa88-56cdc0183ba7" providerId="ADAL" clId="{C8CD02E3-132B-40F3-B6A0-926652F128C7}" dt="2024-11-30T19:38:09.890" v="944" actId="20577"/>
          <ac:spMkLst>
            <pc:docMk/>
            <pc:sldMk cId="233223444" sldId="261"/>
            <ac:spMk id="21" creationId="{FDE11FA7-7D58-DF28-90BE-0E2CE18F88D3}"/>
          </ac:spMkLst>
        </pc:spChg>
        <pc:spChg chg="mod">
          <ac:chgData name="PJ Grant" userId="21cab94c-7745-4db5-aa88-56cdc0183ba7" providerId="ADAL" clId="{C8CD02E3-132B-40F3-B6A0-926652F128C7}" dt="2024-11-30T19:38:16.496" v="945" actId="20577"/>
          <ac:spMkLst>
            <pc:docMk/>
            <pc:sldMk cId="233223444" sldId="261"/>
            <ac:spMk id="22" creationId="{5ABF07A2-0E4B-1AFE-D91E-F1B6DDD98809}"/>
          </ac:spMkLst>
        </pc:spChg>
        <pc:spChg chg="del mod">
          <ac:chgData name="PJ Grant" userId="21cab94c-7745-4db5-aa88-56cdc0183ba7" providerId="ADAL" clId="{C8CD02E3-132B-40F3-B6A0-926652F128C7}" dt="2024-11-30T19:22:33.312" v="240" actId="478"/>
          <ac:spMkLst>
            <pc:docMk/>
            <pc:sldMk cId="233223444" sldId="261"/>
            <ac:spMk id="25" creationId="{0F49CFC3-F034-3420-8D50-AA1174A94F56}"/>
          </ac:spMkLst>
        </pc:spChg>
        <pc:spChg chg="mod">
          <ac:chgData name="PJ Grant" userId="21cab94c-7745-4db5-aa88-56cdc0183ba7" providerId="ADAL" clId="{C8CD02E3-132B-40F3-B6A0-926652F128C7}" dt="2024-11-30T19:39:53.011" v="988" actId="14100"/>
          <ac:spMkLst>
            <pc:docMk/>
            <pc:sldMk cId="233223444" sldId="261"/>
            <ac:spMk id="31" creationId="{B534A289-F299-2B30-8D95-4BA19FB0E009}"/>
          </ac:spMkLst>
        </pc:spChg>
        <pc:spChg chg="add mod">
          <ac:chgData name="PJ Grant" userId="21cab94c-7745-4db5-aa88-56cdc0183ba7" providerId="ADAL" clId="{C8CD02E3-132B-40F3-B6A0-926652F128C7}" dt="2024-11-30T19:17:51.279" v="82" actId="552"/>
          <ac:spMkLst>
            <pc:docMk/>
            <pc:sldMk cId="233223444" sldId="261"/>
            <ac:spMk id="33" creationId="{03222A14-EB95-E75D-C722-3C045A9A5CFE}"/>
          </ac:spMkLst>
        </pc:spChg>
        <pc:spChg chg="add mod">
          <ac:chgData name="PJ Grant" userId="21cab94c-7745-4db5-aa88-56cdc0183ba7" providerId="ADAL" clId="{C8CD02E3-132B-40F3-B6A0-926652F128C7}" dt="2024-11-30T19:17:53.467" v="83" actId="465"/>
          <ac:spMkLst>
            <pc:docMk/>
            <pc:sldMk cId="233223444" sldId="261"/>
            <ac:spMk id="34" creationId="{E0952409-ED3E-D450-B648-6FDC4A8B0E9D}"/>
          </ac:spMkLst>
        </pc:spChg>
        <pc:spChg chg="add mod">
          <ac:chgData name="PJ Grant" userId="21cab94c-7745-4db5-aa88-56cdc0183ba7" providerId="ADAL" clId="{C8CD02E3-132B-40F3-B6A0-926652F128C7}" dt="2024-11-30T19:33:22.025" v="880" actId="1036"/>
          <ac:spMkLst>
            <pc:docMk/>
            <pc:sldMk cId="233223444" sldId="261"/>
            <ac:spMk id="35" creationId="{9CB59502-6113-B779-E197-DF28BB666909}"/>
          </ac:spMkLst>
        </pc:spChg>
        <pc:spChg chg="add mod">
          <ac:chgData name="PJ Grant" userId="21cab94c-7745-4db5-aa88-56cdc0183ba7" providerId="ADAL" clId="{C8CD02E3-132B-40F3-B6A0-926652F128C7}" dt="2024-11-30T19:18:00.481" v="84" actId="14100"/>
          <ac:spMkLst>
            <pc:docMk/>
            <pc:sldMk cId="233223444" sldId="261"/>
            <ac:spMk id="36" creationId="{683F4F62-CBF1-DB60-0CCF-337D94F6EA27}"/>
          </ac:spMkLst>
        </pc:spChg>
        <pc:spChg chg="add mod">
          <ac:chgData name="PJ Grant" userId="21cab94c-7745-4db5-aa88-56cdc0183ba7" providerId="ADAL" clId="{C8CD02E3-132B-40F3-B6A0-926652F128C7}" dt="2024-11-30T19:29:34.337" v="789" actId="14100"/>
          <ac:spMkLst>
            <pc:docMk/>
            <pc:sldMk cId="233223444" sldId="261"/>
            <ac:spMk id="37" creationId="{6FC530D1-4822-637C-5384-7853551EE7F9}"/>
          </ac:spMkLst>
        </pc:spChg>
        <pc:spChg chg="add mod">
          <ac:chgData name="PJ Grant" userId="21cab94c-7745-4db5-aa88-56cdc0183ba7" providerId="ADAL" clId="{C8CD02E3-132B-40F3-B6A0-926652F128C7}" dt="2024-11-30T19:29:34.337" v="789" actId="14100"/>
          <ac:spMkLst>
            <pc:docMk/>
            <pc:sldMk cId="233223444" sldId="261"/>
            <ac:spMk id="38" creationId="{E2ABDE72-DD0D-7255-AD7D-1AA1DA88BB1D}"/>
          </ac:spMkLst>
        </pc:spChg>
        <pc:spChg chg="add mod">
          <ac:chgData name="PJ Grant" userId="21cab94c-7745-4db5-aa88-56cdc0183ba7" providerId="ADAL" clId="{C8CD02E3-132B-40F3-B6A0-926652F128C7}" dt="2024-11-30T19:33:22.025" v="880" actId="1036"/>
          <ac:spMkLst>
            <pc:docMk/>
            <pc:sldMk cId="233223444" sldId="261"/>
            <ac:spMk id="39" creationId="{A19783FB-EC0C-FC21-61AF-620A5414AB4F}"/>
          </ac:spMkLst>
        </pc:spChg>
        <pc:spChg chg="add mod">
          <ac:chgData name="PJ Grant" userId="21cab94c-7745-4db5-aa88-56cdc0183ba7" providerId="ADAL" clId="{C8CD02E3-132B-40F3-B6A0-926652F128C7}" dt="2024-11-30T19:29:34.337" v="789" actId="14100"/>
          <ac:spMkLst>
            <pc:docMk/>
            <pc:sldMk cId="233223444" sldId="261"/>
            <ac:spMk id="40" creationId="{4834E7D5-7988-42DE-1B4F-49AB1A08BCF9}"/>
          </ac:spMkLst>
        </pc:spChg>
        <pc:spChg chg="add mod">
          <ac:chgData name="PJ Grant" userId="21cab94c-7745-4db5-aa88-56cdc0183ba7" providerId="ADAL" clId="{C8CD02E3-132B-40F3-B6A0-926652F128C7}" dt="2024-11-30T19:29:28.021" v="788" actId="1076"/>
          <ac:spMkLst>
            <pc:docMk/>
            <pc:sldMk cId="233223444" sldId="261"/>
            <ac:spMk id="42" creationId="{EF619D13-540D-CC94-7F57-FF7762417A4C}"/>
          </ac:spMkLst>
        </pc:spChg>
        <pc:spChg chg="add mod">
          <ac:chgData name="PJ Grant" userId="21cab94c-7745-4db5-aa88-56cdc0183ba7" providerId="ADAL" clId="{C8CD02E3-132B-40F3-B6A0-926652F128C7}" dt="2024-11-30T19:29:28.021" v="788" actId="1076"/>
          <ac:spMkLst>
            <pc:docMk/>
            <pc:sldMk cId="233223444" sldId="261"/>
            <ac:spMk id="43" creationId="{30739D86-4589-A6D0-F98B-A570C33CC134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45" creationId="{E11E5A08-563A-8204-DFE8-05664E5DBE0F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46" creationId="{5F748EC2-43AE-00CF-694D-4725177AFF31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47" creationId="{5A5CBD60-22D9-5E1C-6A25-C142C0D0B3D2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48" creationId="{9A5C4794-5E68-D961-B0FA-3292C2E6B7C9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49" creationId="{B599C2F7-6336-2EBA-4A91-D22D84349897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50" creationId="{CA1C7B04-8D42-D555-8DC7-2323261C8063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51" creationId="{ABAA500A-5771-5496-256E-5DE95D3B2617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52" creationId="{1881FBC6-7A1E-D16D-675F-479A364C4C01}"/>
          </ac:spMkLst>
        </pc:spChg>
        <pc:spChg chg="add mod">
          <ac:chgData name="PJ Grant" userId="21cab94c-7745-4db5-aa88-56cdc0183ba7" providerId="ADAL" clId="{C8CD02E3-132B-40F3-B6A0-926652F128C7}" dt="2024-11-30T19:36:05.985" v="922" actId="20577"/>
          <ac:spMkLst>
            <pc:docMk/>
            <pc:sldMk cId="233223444" sldId="261"/>
            <ac:spMk id="53" creationId="{4EEF91C2-1B63-A5BC-B244-E4016AB0D0D7}"/>
          </ac:spMkLst>
        </pc:spChg>
        <pc:spChg chg="add mod">
          <ac:chgData name="PJ Grant" userId="21cab94c-7745-4db5-aa88-56cdc0183ba7" providerId="ADAL" clId="{C8CD02E3-132B-40F3-B6A0-926652F128C7}" dt="2024-11-30T19:36:11.610" v="923" actId="20577"/>
          <ac:spMkLst>
            <pc:docMk/>
            <pc:sldMk cId="233223444" sldId="261"/>
            <ac:spMk id="54" creationId="{AB067C67-2302-DD16-A5A0-94D80B44F590}"/>
          </ac:spMkLst>
        </pc:spChg>
        <pc:spChg chg="add mod">
          <ac:chgData name="PJ Grant" userId="21cab94c-7745-4db5-aa88-56cdc0183ba7" providerId="ADAL" clId="{C8CD02E3-132B-40F3-B6A0-926652F128C7}" dt="2024-11-30T19:35:49.678" v="919" actId="20577"/>
          <ac:spMkLst>
            <pc:docMk/>
            <pc:sldMk cId="233223444" sldId="261"/>
            <ac:spMk id="55" creationId="{DFD73507-87F6-3A30-2335-0CDF55A29F64}"/>
          </ac:spMkLst>
        </pc:spChg>
        <pc:spChg chg="add mod">
          <ac:chgData name="PJ Grant" userId="21cab94c-7745-4db5-aa88-56cdc0183ba7" providerId="ADAL" clId="{C8CD02E3-132B-40F3-B6A0-926652F128C7}" dt="2024-11-30T19:35:55.745" v="920" actId="20577"/>
          <ac:spMkLst>
            <pc:docMk/>
            <pc:sldMk cId="233223444" sldId="261"/>
            <ac:spMk id="56" creationId="{EBCED4AA-0D48-91A4-3D2A-C7ECF2319C71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57" creationId="{1D5E6DD0-A37B-CE2D-3F8E-D8B2CD944D5D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58" creationId="{F8A61A62-93D1-95EF-9885-66D1265663C1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59" creationId="{DD85115E-978C-E115-3B60-95407659ED52}"/>
          </ac:spMkLst>
        </pc:spChg>
        <pc:spChg chg="add del mod">
          <ac:chgData name="PJ Grant" userId="21cab94c-7745-4db5-aa88-56cdc0183ba7" providerId="ADAL" clId="{C8CD02E3-132B-40F3-B6A0-926652F128C7}" dt="2024-11-30T19:35:14.308" v="913" actId="478"/>
          <ac:spMkLst>
            <pc:docMk/>
            <pc:sldMk cId="233223444" sldId="261"/>
            <ac:spMk id="60" creationId="{7B69A7FE-8C67-176A-08A3-BBE4CC36C110}"/>
          </ac:spMkLst>
        </pc:spChg>
        <pc:spChg chg="add mod">
          <ac:chgData name="PJ Grant" userId="21cab94c-7745-4db5-aa88-56cdc0183ba7" providerId="ADAL" clId="{C8CD02E3-132B-40F3-B6A0-926652F128C7}" dt="2024-11-30T19:35:24.494" v="917" actId="571"/>
          <ac:spMkLst>
            <pc:docMk/>
            <pc:sldMk cId="233223444" sldId="261"/>
            <ac:spMk id="61" creationId="{AB48E4C2-0D9E-AEE1-0EF5-D5A316AA78BB}"/>
          </ac:spMkLst>
        </pc:spChg>
        <pc:spChg chg="add mod">
          <ac:chgData name="PJ Grant" userId="21cab94c-7745-4db5-aa88-56cdc0183ba7" providerId="ADAL" clId="{C8CD02E3-132B-40F3-B6A0-926652F128C7}" dt="2024-11-30T19:35:24.494" v="917" actId="571"/>
          <ac:spMkLst>
            <pc:docMk/>
            <pc:sldMk cId="233223444" sldId="261"/>
            <ac:spMk id="62" creationId="{1DEC484D-AEA6-38D8-445A-C45A1EEDA374}"/>
          </ac:spMkLst>
        </pc:spChg>
        <pc:spChg chg="add mod">
          <ac:chgData name="PJ Grant" userId="21cab94c-7745-4db5-aa88-56cdc0183ba7" providerId="ADAL" clId="{C8CD02E3-132B-40F3-B6A0-926652F128C7}" dt="2024-11-30T19:35:24.494" v="917" actId="571"/>
          <ac:spMkLst>
            <pc:docMk/>
            <pc:sldMk cId="233223444" sldId="261"/>
            <ac:spMk id="63" creationId="{E65E1B46-D69F-4B18-E355-57F02D85D2D5}"/>
          </ac:spMkLst>
        </pc:spChg>
        <pc:spChg chg="add mod">
          <ac:chgData name="PJ Grant" userId="21cab94c-7745-4db5-aa88-56cdc0183ba7" providerId="ADAL" clId="{C8CD02E3-132B-40F3-B6A0-926652F128C7}" dt="2024-11-30T19:35:24.494" v="917" actId="571"/>
          <ac:spMkLst>
            <pc:docMk/>
            <pc:sldMk cId="233223444" sldId="261"/>
            <ac:spMk id="64" creationId="{7C589DC7-1F5F-B6DA-D16E-C2C892B29A49}"/>
          </ac:spMkLst>
        </pc:spChg>
        <pc:spChg chg="add mod">
          <ac:chgData name="PJ Grant" userId="21cab94c-7745-4db5-aa88-56cdc0183ba7" providerId="ADAL" clId="{C8CD02E3-132B-40F3-B6A0-926652F128C7}" dt="2024-11-30T19:36:29.497" v="924" actId="571"/>
          <ac:spMkLst>
            <pc:docMk/>
            <pc:sldMk cId="233223444" sldId="261"/>
            <ac:spMk id="65" creationId="{799B4028-540A-E8A3-B5CC-5049A68E13B6}"/>
          </ac:spMkLst>
        </pc:spChg>
        <pc:spChg chg="add mod">
          <ac:chgData name="PJ Grant" userId="21cab94c-7745-4db5-aa88-56cdc0183ba7" providerId="ADAL" clId="{C8CD02E3-132B-40F3-B6A0-926652F128C7}" dt="2024-11-30T19:37:01.492" v="930" actId="20577"/>
          <ac:spMkLst>
            <pc:docMk/>
            <pc:sldMk cId="233223444" sldId="261"/>
            <ac:spMk id="66" creationId="{D159EB04-EBB0-2ACA-B2DF-829D5C948D73}"/>
          </ac:spMkLst>
        </pc:spChg>
        <pc:spChg chg="add mod">
          <ac:chgData name="PJ Grant" userId="21cab94c-7745-4db5-aa88-56cdc0183ba7" providerId="ADAL" clId="{C8CD02E3-132B-40F3-B6A0-926652F128C7}" dt="2024-11-30T19:36:36.826" v="926" actId="20577"/>
          <ac:spMkLst>
            <pc:docMk/>
            <pc:sldMk cId="233223444" sldId="261"/>
            <ac:spMk id="67" creationId="{273FFE1C-47C7-57AA-02D0-ADEB7FE8E6CD}"/>
          </ac:spMkLst>
        </pc:spChg>
        <pc:spChg chg="add mod">
          <ac:chgData name="PJ Grant" userId="21cab94c-7745-4db5-aa88-56cdc0183ba7" providerId="ADAL" clId="{C8CD02E3-132B-40F3-B6A0-926652F128C7}" dt="2024-11-30T19:36:47.142" v="928" actId="20577"/>
          <ac:spMkLst>
            <pc:docMk/>
            <pc:sldMk cId="233223444" sldId="261"/>
            <ac:spMk id="68" creationId="{7ABF4C13-C611-D282-449D-6BA2D5C30A81}"/>
          </ac:spMkLst>
        </pc:spChg>
        <pc:spChg chg="add mod">
          <ac:chgData name="PJ Grant" userId="21cab94c-7745-4db5-aa88-56cdc0183ba7" providerId="ADAL" clId="{C8CD02E3-132B-40F3-B6A0-926652F128C7}" dt="2024-11-30T19:37:36.255" v="938" actId="20577"/>
          <ac:spMkLst>
            <pc:docMk/>
            <pc:sldMk cId="233223444" sldId="261"/>
            <ac:spMk id="69" creationId="{ACF62ECA-A851-F935-F75F-BA5CB770D217}"/>
          </ac:spMkLst>
        </pc:spChg>
        <pc:spChg chg="add mod">
          <ac:chgData name="PJ Grant" userId="21cab94c-7745-4db5-aa88-56cdc0183ba7" providerId="ADAL" clId="{C8CD02E3-132B-40F3-B6A0-926652F128C7}" dt="2024-11-30T19:37:42.377" v="940" actId="20577"/>
          <ac:spMkLst>
            <pc:docMk/>
            <pc:sldMk cId="233223444" sldId="261"/>
            <ac:spMk id="70" creationId="{907F7B6B-FBDB-553C-F0EA-B5329CBE38B2}"/>
          </ac:spMkLst>
        </pc:spChg>
        <pc:spChg chg="add mod">
          <ac:chgData name="PJ Grant" userId="21cab94c-7745-4db5-aa88-56cdc0183ba7" providerId="ADAL" clId="{C8CD02E3-132B-40F3-B6A0-926652F128C7}" dt="2024-11-30T19:37:18.099" v="934" actId="20577"/>
          <ac:spMkLst>
            <pc:docMk/>
            <pc:sldMk cId="233223444" sldId="261"/>
            <ac:spMk id="71" creationId="{FFDEDFCB-9D86-FEE8-BD2D-0309C181250C}"/>
          </ac:spMkLst>
        </pc:spChg>
        <pc:spChg chg="add mod">
          <ac:chgData name="PJ Grant" userId="21cab94c-7745-4db5-aa88-56cdc0183ba7" providerId="ADAL" clId="{C8CD02E3-132B-40F3-B6A0-926652F128C7}" dt="2024-11-30T19:37:27.541" v="936" actId="20577"/>
          <ac:spMkLst>
            <pc:docMk/>
            <pc:sldMk cId="233223444" sldId="261"/>
            <ac:spMk id="72" creationId="{4637F37C-8C44-B273-B03A-4760DCD02388}"/>
          </ac:spMkLst>
        </pc:spChg>
        <pc:cxnChg chg="mod">
          <ac:chgData name="PJ Grant" userId="21cab94c-7745-4db5-aa88-56cdc0183ba7" providerId="ADAL" clId="{C8CD02E3-132B-40F3-B6A0-926652F128C7}" dt="2024-11-30T19:29:28.021" v="788" actId="1076"/>
          <ac:cxnSpMkLst>
            <pc:docMk/>
            <pc:sldMk cId="233223444" sldId="261"/>
            <ac:cxnSpMk id="16" creationId="{A5417318-E000-6F01-6C7A-944DA6AE349D}"/>
          </ac:cxnSpMkLst>
        </pc:cxnChg>
        <pc:cxnChg chg="mod">
          <ac:chgData name="PJ Grant" userId="21cab94c-7745-4db5-aa88-56cdc0183ba7" providerId="ADAL" clId="{C8CD02E3-132B-40F3-B6A0-926652F128C7}" dt="2024-11-30T19:29:09.811" v="782" actId="14100"/>
          <ac:cxnSpMkLst>
            <pc:docMk/>
            <pc:sldMk cId="233223444" sldId="261"/>
            <ac:cxnSpMk id="19" creationId="{F6D43690-A91E-4E32-E81E-A499C7B5FDC4}"/>
          </ac:cxnSpMkLst>
        </pc:cxnChg>
      </pc:sldChg>
      <pc:sldChg chg="addSp delSp modSp mod">
        <pc:chgData name="PJ Grant" userId="21cab94c-7745-4db5-aa88-56cdc0183ba7" providerId="ADAL" clId="{C8CD02E3-132B-40F3-B6A0-926652F128C7}" dt="2024-12-01T00:16:19.128" v="35820" actId="1076"/>
        <pc:sldMkLst>
          <pc:docMk/>
          <pc:sldMk cId="1548672113" sldId="262"/>
        </pc:sldMkLst>
        <pc:spChg chg="mod ord">
          <ac:chgData name="PJ Grant" userId="21cab94c-7745-4db5-aa88-56cdc0183ba7" providerId="ADAL" clId="{C8CD02E3-132B-40F3-B6A0-926652F128C7}" dt="2024-12-01T00:01:04.816" v="35103"/>
          <ac:spMkLst>
            <pc:docMk/>
            <pc:sldMk cId="1548672113" sldId="262"/>
            <ac:spMk id="2" creationId="{9AADBF26-6873-9B17-C58A-86B9E108D556}"/>
          </ac:spMkLst>
        </pc:spChg>
        <pc:spChg chg="mod ord">
          <ac:chgData name="PJ Grant" userId="21cab94c-7745-4db5-aa88-56cdc0183ba7" providerId="ADAL" clId="{C8CD02E3-132B-40F3-B6A0-926652F128C7}" dt="2024-12-01T00:01:04.816" v="35105"/>
          <ac:spMkLst>
            <pc:docMk/>
            <pc:sldMk cId="1548672113" sldId="262"/>
            <ac:spMk id="3" creationId="{247A5BDF-10D8-8733-DADA-D9C46D00010C}"/>
          </ac:spMkLst>
        </pc:spChg>
        <pc:spChg chg="add mod ord">
          <ac:chgData name="PJ Grant" userId="21cab94c-7745-4db5-aa88-56cdc0183ba7" providerId="ADAL" clId="{C8CD02E3-132B-40F3-B6A0-926652F128C7}" dt="2024-12-01T00:01:04.816" v="35107"/>
          <ac:spMkLst>
            <pc:docMk/>
            <pc:sldMk cId="1548672113" sldId="262"/>
            <ac:spMk id="9" creationId="{6F750A03-3F35-60A3-82B8-2680356BB2B5}"/>
          </ac:spMkLst>
        </pc:spChg>
        <pc:spChg chg="add mod ord">
          <ac:chgData name="PJ Grant" userId="21cab94c-7745-4db5-aa88-56cdc0183ba7" providerId="ADAL" clId="{C8CD02E3-132B-40F3-B6A0-926652F128C7}" dt="2024-12-01T00:08:32.475" v="35270" actId="14100"/>
          <ac:spMkLst>
            <pc:docMk/>
            <pc:sldMk cId="1548672113" sldId="262"/>
            <ac:spMk id="10" creationId="{95B79511-0CC1-69B8-A2A6-D7EE6B9ED9DF}"/>
          </ac:spMkLst>
        </pc:spChg>
        <pc:spChg chg="add mod ord">
          <ac:chgData name="PJ Grant" userId="21cab94c-7745-4db5-aa88-56cdc0183ba7" providerId="ADAL" clId="{C8CD02E3-132B-40F3-B6A0-926652F128C7}" dt="2024-12-01T00:08:20.973" v="35245" actId="20577"/>
          <ac:spMkLst>
            <pc:docMk/>
            <pc:sldMk cId="1548672113" sldId="262"/>
            <ac:spMk id="12" creationId="{3D9E6D2F-E9D3-18F8-C5A1-1DFB10FC62A8}"/>
          </ac:spMkLst>
        </pc:spChg>
        <pc:spChg chg="add del mod modVis">
          <ac:chgData name="PJ Grant" userId="21cab94c-7745-4db5-aa88-56cdc0183ba7" providerId="ADAL" clId="{C8CD02E3-132B-40F3-B6A0-926652F128C7}" dt="2024-11-30T19:42:47.504" v="1029"/>
          <ac:spMkLst>
            <pc:docMk/>
            <pc:sldMk cId="1548672113" sldId="262"/>
            <ac:spMk id="16" creationId="{1CF86D14-619E-9873-56BD-BAC4E7847EC4}"/>
          </ac:spMkLst>
        </pc:spChg>
        <pc:spChg chg="add del mod modVis">
          <ac:chgData name="PJ Grant" userId="21cab94c-7745-4db5-aa88-56cdc0183ba7" providerId="ADAL" clId="{C8CD02E3-132B-40F3-B6A0-926652F128C7}" dt="2024-11-30T19:42:48.557" v="1056"/>
          <ac:spMkLst>
            <pc:docMk/>
            <pc:sldMk cId="1548672113" sldId="262"/>
            <ac:spMk id="17" creationId="{8A5A2D58-D0E1-8813-262B-711F0959BE52}"/>
          </ac:spMkLst>
        </pc:spChg>
        <pc:spChg chg="add del mod modVis">
          <ac:chgData name="PJ Grant" userId="21cab94c-7745-4db5-aa88-56cdc0183ba7" providerId="ADAL" clId="{C8CD02E3-132B-40F3-B6A0-926652F128C7}" dt="2024-11-30T19:42:50.699" v="1085"/>
          <ac:spMkLst>
            <pc:docMk/>
            <pc:sldMk cId="1548672113" sldId="262"/>
            <ac:spMk id="18" creationId="{958D19EC-F8A4-C80F-4168-91911871566F}"/>
          </ac:spMkLst>
        </pc:spChg>
        <pc:spChg chg="add del mod">
          <ac:chgData name="PJ Grant" userId="21cab94c-7745-4db5-aa88-56cdc0183ba7" providerId="ADAL" clId="{C8CD02E3-132B-40F3-B6A0-926652F128C7}" dt="2024-11-30T22:06:42.778" v="4209"/>
          <ac:spMkLst>
            <pc:docMk/>
            <pc:sldMk cId="1548672113" sldId="262"/>
            <ac:spMk id="19" creationId="{80364B89-5CD9-B1C9-AF39-1449E23C0B49}"/>
          </ac:spMkLst>
        </pc:spChg>
        <pc:spChg chg="add del mod modVis">
          <ac:chgData name="PJ Grant" userId="21cab94c-7745-4db5-aa88-56cdc0183ba7" providerId="ADAL" clId="{C8CD02E3-132B-40F3-B6A0-926652F128C7}" dt="2024-11-30T22:04:31.655" v="1562"/>
          <ac:spMkLst>
            <pc:docMk/>
            <pc:sldMk cId="1548672113" sldId="262"/>
            <ac:spMk id="20" creationId="{02F64CDF-1F95-358E-C48A-7B3C6FDDC186}"/>
          </ac:spMkLst>
        </pc:spChg>
        <pc:spChg chg="add del mod">
          <ac:chgData name="PJ Grant" userId="21cab94c-7745-4db5-aa88-56cdc0183ba7" providerId="ADAL" clId="{C8CD02E3-132B-40F3-B6A0-926652F128C7}" dt="2024-11-30T22:06:42.777" v="4207"/>
          <ac:spMkLst>
            <pc:docMk/>
            <pc:sldMk cId="1548672113" sldId="262"/>
            <ac:spMk id="21" creationId="{86D214F0-DD28-AE18-9AC8-E2D4DB066191}"/>
          </ac:spMkLst>
        </pc:spChg>
        <pc:spChg chg="add del mod">
          <ac:chgData name="PJ Grant" userId="21cab94c-7745-4db5-aa88-56cdc0183ba7" providerId="ADAL" clId="{C8CD02E3-132B-40F3-B6A0-926652F128C7}" dt="2024-11-30T22:04:56.119" v="2141"/>
          <ac:spMkLst>
            <pc:docMk/>
            <pc:sldMk cId="1548672113" sldId="262"/>
            <ac:spMk id="22" creationId="{4A3A140E-414F-2FB5-8E1E-FE8028B8A125}"/>
          </ac:spMkLst>
        </pc:spChg>
        <pc:spChg chg="add del mod">
          <ac:chgData name="PJ Grant" userId="21cab94c-7745-4db5-aa88-56cdc0183ba7" providerId="ADAL" clId="{C8CD02E3-132B-40F3-B6A0-926652F128C7}" dt="2024-11-30T22:05:26.121" v="2681"/>
          <ac:spMkLst>
            <pc:docMk/>
            <pc:sldMk cId="1548672113" sldId="262"/>
            <ac:spMk id="23" creationId="{6A15A111-A977-8DBD-328B-654391023B52}"/>
          </ac:spMkLst>
        </pc:spChg>
        <pc:spChg chg="add del mod">
          <ac:chgData name="PJ Grant" userId="21cab94c-7745-4db5-aa88-56cdc0183ba7" providerId="ADAL" clId="{C8CD02E3-132B-40F3-B6A0-926652F128C7}" dt="2024-11-30T22:05:26.120" v="2680"/>
          <ac:spMkLst>
            <pc:docMk/>
            <pc:sldMk cId="1548672113" sldId="262"/>
            <ac:spMk id="24" creationId="{FF5FB64A-8294-EEA0-85CD-D57BB8C8B1E1}"/>
          </ac:spMkLst>
        </pc:spChg>
        <pc:spChg chg="add del mod">
          <ac:chgData name="PJ Grant" userId="21cab94c-7745-4db5-aa88-56cdc0183ba7" providerId="ADAL" clId="{C8CD02E3-132B-40F3-B6A0-926652F128C7}" dt="2024-11-30T22:05:26.121" v="2682"/>
          <ac:spMkLst>
            <pc:docMk/>
            <pc:sldMk cId="1548672113" sldId="262"/>
            <ac:spMk id="25" creationId="{A9C3791E-A772-C30E-967E-D1D1E42A127D}"/>
          </ac:spMkLst>
        </pc:spChg>
        <pc:spChg chg="add del mod">
          <ac:chgData name="PJ Grant" userId="21cab94c-7745-4db5-aa88-56cdc0183ba7" providerId="ADAL" clId="{C8CD02E3-132B-40F3-B6A0-926652F128C7}" dt="2024-11-30T22:06:29.772" v="3513"/>
          <ac:spMkLst>
            <pc:docMk/>
            <pc:sldMk cId="1548672113" sldId="262"/>
            <ac:spMk id="26" creationId="{2742D39A-3F51-F0AD-5093-1752FD05559F}"/>
          </ac:spMkLst>
        </pc:spChg>
        <pc:spChg chg="add del mod">
          <ac:chgData name="PJ Grant" userId="21cab94c-7745-4db5-aa88-56cdc0183ba7" providerId="ADAL" clId="{C8CD02E3-132B-40F3-B6A0-926652F128C7}" dt="2024-11-30T22:06:29.774" v="3514"/>
          <ac:spMkLst>
            <pc:docMk/>
            <pc:sldMk cId="1548672113" sldId="262"/>
            <ac:spMk id="27" creationId="{3F0DE95A-E551-FCE5-80AA-6D8B0291099A}"/>
          </ac:spMkLst>
        </pc:spChg>
        <pc:spChg chg="add del mod">
          <ac:chgData name="PJ Grant" userId="21cab94c-7745-4db5-aa88-56cdc0183ba7" providerId="ADAL" clId="{C8CD02E3-132B-40F3-B6A0-926652F128C7}" dt="2024-11-30T22:04:56.119" v="2140"/>
          <ac:spMkLst>
            <pc:docMk/>
            <pc:sldMk cId="1548672113" sldId="262"/>
            <ac:spMk id="28" creationId="{CF85F862-FE8B-E1E8-2B6E-1F293037D2F5}"/>
          </ac:spMkLst>
        </pc:spChg>
        <pc:spChg chg="add del mod">
          <ac:chgData name="PJ Grant" userId="21cab94c-7745-4db5-aa88-56cdc0183ba7" providerId="ADAL" clId="{C8CD02E3-132B-40F3-B6A0-926652F128C7}" dt="2024-11-30T22:04:45.368" v="1949"/>
          <ac:spMkLst>
            <pc:docMk/>
            <pc:sldMk cId="1548672113" sldId="262"/>
            <ac:spMk id="33" creationId="{CCDCD069-DA15-1B1A-8AE9-8B9B380517A6}"/>
          </ac:spMkLst>
        </pc:spChg>
        <pc:spChg chg="add del mod">
          <ac:chgData name="PJ Grant" userId="21cab94c-7745-4db5-aa88-56cdc0183ba7" providerId="ADAL" clId="{C8CD02E3-132B-40F3-B6A0-926652F128C7}" dt="2024-11-30T22:04:45.367" v="1947"/>
          <ac:spMkLst>
            <pc:docMk/>
            <pc:sldMk cId="1548672113" sldId="262"/>
            <ac:spMk id="34" creationId="{0F957B62-BA39-8E11-D0E5-676E404E45D7}"/>
          </ac:spMkLst>
        </pc:spChg>
        <pc:spChg chg="add del mod">
          <ac:chgData name="PJ Grant" userId="21cab94c-7745-4db5-aa88-56cdc0183ba7" providerId="ADAL" clId="{C8CD02E3-132B-40F3-B6A0-926652F128C7}" dt="2024-11-30T22:04:45.367" v="1945"/>
          <ac:spMkLst>
            <pc:docMk/>
            <pc:sldMk cId="1548672113" sldId="262"/>
            <ac:spMk id="35" creationId="{D83B4336-EED5-03E2-BAEE-CCE8FB1E2B04}"/>
          </ac:spMkLst>
        </pc:spChg>
        <pc:spChg chg="add del mod">
          <ac:chgData name="PJ Grant" userId="21cab94c-7745-4db5-aa88-56cdc0183ba7" providerId="ADAL" clId="{C8CD02E3-132B-40F3-B6A0-926652F128C7}" dt="2024-11-30T22:04:45.368" v="1952"/>
          <ac:spMkLst>
            <pc:docMk/>
            <pc:sldMk cId="1548672113" sldId="262"/>
            <ac:spMk id="36" creationId="{C634398C-4B84-E579-C1DF-C70CDD37B147}"/>
          </ac:spMkLst>
        </pc:spChg>
        <pc:spChg chg="add del mod">
          <ac:chgData name="PJ Grant" userId="21cab94c-7745-4db5-aa88-56cdc0183ba7" providerId="ADAL" clId="{C8CD02E3-132B-40F3-B6A0-926652F128C7}" dt="2024-11-30T22:04:45.368" v="1951"/>
          <ac:spMkLst>
            <pc:docMk/>
            <pc:sldMk cId="1548672113" sldId="262"/>
            <ac:spMk id="37" creationId="{AC35FC8B-8320-9C92-B139-82276646C5E3}"/>
          </ac:spMkLst>
        </pc:spChg>
        <pc:spChg chg="add del mod">
          <ac:chgData name="PJ Grant" userId="21cab94c-7745-4db5-aa88-56cdc0183ba7" providerId="ADAL" clId="{C8CD02E3-132B-40F3-B6A0-926652F128C7}" dt="2024-11-30T22:04:45.368" v="1950"/>
          <ac:spMkLst>
            <pc:docMk/>
            <pc:sldMk cId="1548672113" sldId="262"/>
            <ac:spMk id="38" creationId="{5C95062A-BD27-4317-4D23-76B6097F483D}"/>
          </ac:spMkLst>
        </pc:spChg>
        <pc:spChg chg="add del mod">
          <ac:chgData name="PJ Grant" userId="21cab94c-7745-4db5-aa88-56cdc0183ba7" providerId="ADAL" clId="{C8CD02E3-132B-40F3-B6A0-926652F128C7}" dt="2024-11-30T22:04:45.367" v="1948"/>
          <ac:spMkLst>
            <pc:docMk/>
            <pc:sldMk cId="1548672113" sldId="262"/>
            <ac:spMk id="39" creationId="{972388DE-F63F-1495-858F-39D657B93D7B}"/>
          </ac:spMkLst>
        </pc:spChg>
        <pc:spChg chg="add del mod">
          <ac:chgData name="PJ Grant" userId="21cab94c-7745-4db5-aa88-56cdc0183ba7" providerId="ADAL" clId="{C8CD02E3-132B-40F3-B6A0-926652F128C7}" dt="2024-11-30T22:04:45.367" v="1946"/>
          <ac:spMkLst>
            <pc:docMk/>
            <pc:sldMk cId="1548672113" sldId="262"/>
            <ac:spMk id="40" creationId="{002C4267-F189-2A12-3D39-D1DCDFFFB798}"/>
          </ac:spMkLst>
        </pc:spChg>
        <pc:spChg chg="add del mod">
          <ac:chgData name="PJ Grant" userId="21cab94c-7745-4db5-aa88-56cdc0183ba7" providerId="ADAL" clId="{C8CD02E3-132B-40F3-B6A0-926652F128C7}" dt="2024-11-30T22:04:45.366" v="1944"/>
          <ac:spMkLst>
            <pc:docMk/>
            <pc:sldMk cId="1548672113" sldId="262"/>
            <ac:spMk id="41" creationId="{34901642-7E16-AF92-652B-6EED7C638F6F}"/>
          </ac:spMkLst>
        </pc:spChg>
        <pc:spChg chg="add del mod modVis">
          <ac:chgData name="PJ Grant" userId="21cab94c-7745-4db5-aa88-56cdc0183ba7" providerId="ADAL" clId="{C8CD02E3-132B-40F3-B6A0-926652F128C7}" dt="2024-11-30T22:04:41.466" v="1941"/>
          <ac:spMkLst>
            <pc:docMk/>
            <pc:sldMk cId="1548672113" sldId="262"/>
            <ac:spMk id="42" creationId="{5D1E181D-42DF-9D11-31EB-6F603962483E}"/>
          </ac:spMkLst>
        </pc:spChg>
        <pc:spChg chg="add del mod modVis">
          <ac:chgData name="PJ Grant" userId="21cab94c-7745-4db5-aa88-56cdc0183ba7" providerId="ADAL" clId="{C8CD02E3-132B-40F3-B6A0-926652F128C7}" dt="2024-11-30T22:04:53.559" v="2052"/>
          <ac:spMkLst>
            <pc:docMk/>
            <pc:sldMk cId="1548672113" sldId="262"/>
            <ac:spMk id="44" creationId="{630048A7-D70B-B653-69A5-C128E7C830BB}"/>
          </ac:spMkLst>
        </pc:spChg>
        <pc:spChg chg="add del mod modVis">
          <ac:chgData name="PJ Grant" userId="21cab94c-7745-4db5-aa88-56cdc0183ba7" providerId="ADAL" clId="{C8CD02E3-132B-40F3-B6A0-926652F128C7}" dt="2024-11-30T22:04:54.929" v="2137"/>
          <ac:spMkLst>
            <pc:docMk/>
            <pc:sldMk cId="1548672113" sldId="262"/>
            <ac:spMk id="46" creationId="{13CD2041-C87D-A026-D7AF-CFCA730DEBC8}"/>
          </ac:spMkLst>
        </pc:spChg>
        <pc:spChg chg="add del mod modVis">
          <ac:chgData name="PJ Grant" userId="21cab94c-7745-4db5-aa88-56cdc0183ba7" providerId="ADAL" clId="{C8CD02E3-132B-40F3-B6A0-926652F128C7}" dt="2024-11-30T22:05:04.139" v="2268"/>
          <ac:spMkLst>
            <pc:docMk/>
            <pc:sldMk cId="1548672113" sldId="262"/>
            <ac:spMk id="49" creationId="{33773604-F3E9-7919-E66E-7C2EA2DDA658}"/>
          </ac:spMkLst>
        </pc:spChg>
        <pc:spChg chg="add del mod modVis">
          <ac:chgData name="PJ Grant" userId="21cab94c-7745-4db5-aa88-56cdc0183ba7" providerId="ADAL" clId="{C8CD02E3-132B-40F3-B6A0-926652F128C7}" dt="2024-11-30T22:05:06.603" v="2339"/>
          <ac:spMkLst>
            <pc:docMk/>
            <pc:sldMk cId="1548672113" sldId="262"/>
            <ac:spMk id="51" creationId="{C2477696-79D3-04F2-9E52-AB7732A9ADB0}"/>
          </ac:spMkLst>
        </pc:spChg>
        <pc:spChg chg="add del mod modVis">
          <ac:chgData name="PJ Grant" userId="21cab94c-7745-4db5-aa88-56cdc0183ba7" providerId="ADAL" clId="{C8CD02E3-132B-40F3-B6A0-926652F128C7}" dt="2024-11-30T22:05:09.362" v="2410"/>
          <ac:spMkLst>
            <pc:docMk/>
            <pc:sldMk cId="1548672113" sldId="262"/>
            <ac:spMk id="53" creationId="{9734F007-FDCA-EA78-1C7D-9B70FDE0F260}"/>
          </ac:spMkLst>
        </pc:spChg>
        <pc:spChg chg="add del mod">
          <ac:chgData name="PJ Grant" userId="21cab94c-7745-4db5-aa88-56cdc0183ba7" providerId="ADAL" clId="{C8CD02E3-132B-40F3-B6A0-926652F128C7}" dt="2024-11-30T22:05:26.121" v="2683"/>
          <ac:spMkLst>
            <pc:docMk/>
            <pc:sldMk cId="1548672113" sldId="262"/>
            <ac:spMk id="55" creationId="{631DD15B-8F51-C06F-459C-5FD503F502B8}"/>
          </ac:spMkLst>
        </pc:spChg>
        <pc:spChg chg="add del mod modVis">
          <ac:chgData name="PJ Grant" userId="21cab94c-7745-4db5-aa88-56cdc0183ba7" providerId="ADAL" clId="{C8CD02E3-132B-40F3-B6A0-926652F128C7}" dt="2024-11-30T22:05:19" v="2532"/>
          <ac:spMkLst>
            <pc:docMk/>
            <pc:sldMk cId="1548672113" sldId="262"/>
            <ac:spMk id="56" creationId="{6C7F51B7-694A-AE16-C508-32395DE9A7AB}"/>
          </ac:spMkLst>
        </pc:spChg>
        <pc:spChg chg="add del mod modVis">
          <ac:chgData name="PJ Grant" userId="21cab94c-7745-4db5-aa88-56cdc0183ba7" providerId="ADAL" clId="{C8CD02E3-132B-40F3-B6A0-926652F128C7}" dt="2024-11-30T22:05:20.695" v="2621"/>
          <ac:spMkLst>
            <pc:docMk/>
            <pc:sldMk cId="1548672113" sldId="262"/>
            <ac:spMk id="59" creationId="{4F3198D3-28B2-3CC0-36AD-6E162B9F603B}"/>
          </ac:spMkLst>
        </pc:spChg>
        <pc:spChg chg="add del mod">
          <ac:chgData name="PJ Grant" userId="21cab94c-7745-4db5-aa88-56cdc0183ba7" providerId="ADAL" clId="{C8CD02E3-132B-40F3-B6A0-926652F128C7}" dt="2024-11-30T22:05:34.748" v="2920"/>
          <ac:spMkLst>
            <pc:docMk/>
            <pc:sldMk cId="1548672113" sldId="262"/>
            <ac:spMk id="64" creationId="{B16F9791-FDD1-66DB-B94C-31AE43124C9D}"/>
          </ac:spMkLst>
        </pc:spChg>
        <pc:spChg chg="add del mod">
          <ac:chgData name="PJ Grant" userId="21cab94c-7745-4db5-aa88-56cdc0183ba7" providerId="ADAL" clId="{C8CD02E3-132B-40F3-B6A0-926652F128C7}" dt="2024-11-30T22:05:34.747" v="2918"/>
          <ac:spMkLst>
            <pc:docMk/>
            <pc:sldMk cId="1548672113" sldId="262"/>
            <ac:spMk id="65" creationId="{D714DBCA-0526-66A6-72C0-A45030BA1D40}"/>
          </ac:spMkLst>
        </pc:spChg>
        <pc:spChg chg="add del mod">
          <ac:chgData name="PJ Grant" userId="21cab94c-7745-4db5-aa88-56cdc0183ba7" providerId="ADAL" clId="{C8CD02E3-132B-40F3-B6A0-926652F128C7}" dt="2024-11-30T22:05:34.747" v="2919"/>
          <ac:spMkLst>
            <pc:docMk/>
            <pc:sldMk cId="1548672113" sldId="262"/>
            <ac:spMk id="66" creationId="{BA8A7732-F244-D732-6839-0275F2F25614}"/>
          </ac:spMkLst>
        </pc:spChg>
        <pc:spChg chg="add del mod">
          <ac:chgData name="PJ Grant" userId="21cab94c-7745-4db5-aa88-56cdc0183ba7" providerId="ADAL" clId="{C8CD02E3-132B-40F3-B6A0-926652F128C7}" dt="2024-11-30T22:05:34.746" v="2917"/>
          <ac:spMkLst>
            <pc:docMk/>
            <pc:sldMk cId="1548672113" sldId="262"/>
            <ac:spMk id="67" creationId="{AD9BD3E5-ACAD-04CF-6EF3-BC6566BD2558}"/>
          </ac:spMkLst>
        </pc:spChg>
        <pc:spChg chg="add del mod modVis">
          <ac:chgData name="PJ Grant" userId="21cab94c-7745-4db5-aa88-56cdc0183ba7" providerId="ADAL" clId="{C8CD02E3-132B-40F3-B6A0-926652F128C7}" dt="2024-11-30T22:05:29.431" v="2867"/>
          <ac:spMkLst>
            <pc:docMk/>
            <pc:sldMk cId="1548672113" sldId="262"/>
            <ac:spMk id="68" creationId="{375DE572-CA2F-764D-25F7-CDCFF67052A9}"/>
          </ac:spMkLst>
        </pc:spChg>
        <pc:spChg chg="add del mod">
          <ac:chgData name="PJ Grant" userId="21cab94c-7745-4db5-aa88-56cdc0183ba7" providerId="ADAL" clId="{C8CD02E3-132B-40F3-B6A0-926652F128C7}" dt="2024-11-30T22:06:43.239" v="4220"/>
          <ac:spMkLst>
            <pc:docMk/>
            <pc:sldMk cId="1548672113" sldId="262"/>
            <ac:spMk id="73" creationId="{253F3BFD-EC23-EABB-27B2-3EF7662C4A71}"/>
          </ac:spMkLst>
        </pc:spChg>
        <pc:spChg chg="add del mod">
          <ac:chgData name="PJ Grant" userId="21cab94c-7745-4db5-aa88-56cdc0183ba7" providerId="ADAL" clId="{C8CD02E3-132B-40F3-B6A0-926652F128C7}" dt="2024-11-30T22:06:43.238" v="4218"/>
          <ac:spMkLst>
            <pc:docMk/>
            <pc:sldMk cId="1548672113" sldId="262"/>
            <ac:spMk id="74" creationId="{31B97232-D1BE-AA1B-C665-8712F6CFF373}"/>
          </ac:spMkLst>
        </pc:spChg>
        <pc:spChg chg="add del mod">
          <ac:chgData name="PJ Grant" userId="21cab94c-7745-4db5-aa88-56cdc0183ba7" providerId="ADAL" clId="{C8CD02E3-132B-40F3-B6A0-926652F128C7}" dt="2024-11-30T22:06:43.238" v="4219"/>
          <ac:spMkLst>
            <pc:docMk/>
            <pc:sldMk cId="1548672113" sldId="262"/>
            <ac:spMk id="75" creationId="{A41075E0-8359-2651-A646-5EA429249251}"/>
          </ac:spMkLst>
        </pc:spChg>
        <pc:spChg chg="add del mod">
          <ac:chgData name="PJ Grant" userId="21cab94c-7745-4db5-aa88-56cdc0183ba7" providerId="ADAL" clId="{C8CD02E3-132B-40F3-B6A0-926652F128C7}" dt="2024-11-30T22:06:43.237" v="4217"/>
          <ac:spMkLst>
            <pc:docMk/>
            <pc:sldMk cId="1548672113" sldId="262"/>
            <ac:spMk id="76" creationId="{7B420675-230E-589C-A047-DB275ADB476C}"/>
          </ac:spMkLst>
        </pc:spChg>
        <pc:spChg chg="add del mod modVis">
          <ac:chgData name="PJ Grant" userId="21cab94c-7745-4db5-aa88-56cdc0183ba7" providerId="ADAL" clId="{C8CD02E3-132B-40F3-B6A0-926652F128C7}" dt="2024-11-30T22:06:03.083" v="3118"/>
          <ac:spMkLst>
            <pc:docMk/>
            <pc:sldMk cId="1548672113" sldId="262"/>
            <ac:spMk id="77" creationId="{81FD5216-3105-DE6A-8295-E5622837CDC5}"/>
          </ac:spMkLst>
        </pc:spChg>
        <pc:spChg chg="add del mod">
          <ac:chgData name="PJ Grant" userId="21cab94c-7745-4db5-aa88-56cdc0183ba7" providerId="ADAL" clId="{C8CD02E3-132B-40F3-B6A0-926652F128C7}" dt="2024-11-30T22:06:42.777" v="4205"/>
          <ac:spMkLst>
            <pc:docMk/>
            <pc:sldMk cId="1548672113" sldId="262"/>
            <ac:spMk id="80" creationId="{799E70C9-B059-1B72-28E1-C4F732FC6350}"/>
          </ac:spMkLst>
        </pc:spChg>
        <pc:spChg chg="add del mod">
          <ac:chgData name="PJ Grant" userId="21cab94c-7745-4db5-aa88-56cdc0183ba7" providerId="ADAL" clId="{C8CD02E3-132B-40F3-B6A0-926652F128C7}" dt="2024-11-30T22:06:42.776" v="4203"/>
          <ac:spMkLst>
            <pc:docMk/>
            <pc:sldMk cId="1548672113" sldId="262"/>
            <ac:spMk id="81" creationId="{413F22C6-5B08-80B6-E46F-77977C3525E7}"/>
          </ac:spMkLst>
        </pc:spChg>
        <pc:spChg chg="add del mod">
          <ac:chgData name="PJ Grant" userId="21cab94c-7745-4db5-aa88-56cdc0183ba7" providerId="ADAL" clId="{C8CD02E3-132B-40F3-B6A0-926652F128C7}" dt="2024-11-30T22:06:29.775" v="3515"/>
          <ac:spMkLst>
            <pc:docMk/>
            <pc:sldMk cId="1548672113" sldId="262"/>
            <ac:spMk id="82" creationId="{BD2DD46C-7E30-9F68-8BAF-5B0734ED4EBC}"/>
          </ac:spMkLst>
        </pc:spChg>
        <pc:spChg chg="add del mod">
          <ac:chgData name="PJ Grant" userId="21cab94c-7745-4db5-aa88-56cdc0183ba7" providerId="ADAL" clId="{C8CD02E3-132B-40F3-B6A0-926652F128C7}" dt="2024-11-30T22:06:29.775" v="3516"/>
          <ac:spMkLst>
            <pc:docMk/>
            <pc:sldMk cId="1548672113" sldId="262"/>
            <ac:spMk id="83" creationId="{B9BEFE97-26C9-5FFE-4DAC-8F4576049D29}"/>
          </ac:spMkLst>
        </pc:spChg>
        <pc:spChg chg="add del mod modVis">
          <ac:chgData name="PJ Grant" userId="21cab94c-7745-4db5-aa88-56cdc0183ba7" providerId="ADAL" clId="{C8CD02E3-132B-40F3-B6A0-926652F128C7}" dt="2024-11-30T22:06:18.769" v="3325"/>
          <ac:spMkLst>
            <pc:docMk/>
            <pc:sldMk cId="1548672113" sldId="262"/>
            <ac:spMk id="84" creationId="{5B748361-F1C5-750F-3DF4-A5338490BE58}"/>
          </ac:spMkLst>
        </pc:spChg>
        <pc:spChg chg="add del mod modVis">
          <ac:chgData name="PJ Grant" userId="21cab94c-7745-4db5-aa88-56cdc0183ba7" providerId="ADAL" clId="{C8CD02E3-132B-40F3-B6A0-926652F128C7}" dt="2024-11-30T22:06:23.183" v="3510"/>
          <ac:spMkLst>
            <pc:docMk/>
            <pc:sldMk cId="1548672113" sldId="262"/>
            <ac:spMk id="88" creationId="{E71A5724-F45A-6068-150D-5BC7FBFEC641}"/>
          </ac:spMkLst>
        </pc:spChg>
        <pc:spChg chg="add del mod modVis">
          <ac:chgData name="PJ Grant" userId="21cab94c-7745-4db5-aa88-56cdc0183ba7" providerId="ADAL" clId="{C8CD02E3-132B-40F3-B6A0-926652F128C7}" dt="2024-11-30T22:06:29.994" v="3644"/>
          <ac:spMkLst>
            <pc:docMk/>
            <pc:sldMk cId="1548672113" sldId="262"/>
            <ac:spMk id="90" creationId="{AAFCC682-F1D9-3D41-90F5-F76AAC8CCB35}"/>
          </ac:spMkLst>
        </pc:spChg>
        <pc:spChg chg="add del mod modVis">
          <ac:chgData name="PJ Grant" userId="21cab94c-7745-4db5-aa88-56cdc0183ba7" providerId="ADAL" clId="{C8CD02E3-132B-40F3-B6A0-926652F128C7}" dt="2024-11-30T22:06:31.966" v="3757"/>
          <ac:spMkLst>
            <pc:docMk/>
            <pc:sldMk cId="1548672113" sldId="262"/>
            <ac:spMk id="92" creationId="{CF709D4A-1CBD-3DC1-4A0E-13902A6C4536}"/>
          </ac:spMkLst>
        </pc:spChg>
        <pc:spChg chg="add del mod">
          <ac:chgData name="PJ Grant" userId="21cab94c-7745-4db5-aa88-56cdc0183ba7" providerId="ADAL" clId="{C8CD02E3-132B-40F3-B6A0-926652F128C7}" dt="2024-11-30T22:06:42.778" v="4211"/>
          <ac:spMkLst>
            <pc:docMk/>
            <pc:sldMk cId="1548672113" sldId="262"/>
            <ac:spMk id="93" creationId="{D806F90A-6792-FA3E-7EFF-66D6B82E808C}"/>
          </ac:spMkLst>
        </pc:spChg>
        <pc:spChg chg="add del mod">
          <ac:chgData name="PJ Grant" userId="21cab94c-7745-4db5-aa88-56cdc0183ba7" providerId="ADAL" clId="{C8CD02E3-132B-40F3-B6A0-926652F128C7}" dt="2024-11-30T22:06:42.778" v="4210"/>
          <ac:spMkLst>
            <pc:docMk/>
            <pc:sldMk cId="1548672113" sldId="262"/>
            <ac:spMk id="95" creationId="{E9771BA8-F2F4-93A7-8244-717326F2B989}"/>
          </ac:spMkLst>
        </pc:spChg>
        <pc:spChg chg="add del mod modVis">
          <ac:chgData name="PJ Grant" userId="21cab94c-7745-4db5-aa88-56cdc0183ba7" providerId="ADAL" clId="{C8CD02E3-132B-40F3-B6A0-926652F128C7}" dt="2024-11-30T22:06:33.124" v="3891"/>
          <ac:spMkLst>
            <pc:docMk/>
            <pc:sldMk cId="1548672113" sldId="262"/>
            <ac:spMk id="96" creationId="{E75C0F56-E026-29CD-BC02-5ABFABED90BF}"/>
          </ac:spMkLst>
        </pc:spChg>
        <pc:spChg chg="add del mod">
          <ac:chgData name="PJ Grant" userId="21cab94c-7745-4db5-aa88-56cdc0183ba7" providerId="ADAL" clId="{C8CD02E3-132B-40F3-B6A0-926652F128C7}" dt="2024-11-30T22:06:42.777" v="4208"/>
          <ac:spMkLst>
            <pc:docMk/>
            <pc:sldMk cId="1548672113" sldId="262"/>
            <ac:spMk id="97" creationId="{C724B97D-1400-57F4-4F4F-BDCBDEE397C8}"/>
          </ac:spMkLst>
        </pc:spChg>
        <pc:spChg chg="add del mod">
          <ac:chgData name="PJ Grant" userId="21cab94c-7745-4db5-aa88-56cdc0183ba7" providerId="ADAL" clId="{C8CD02E3-132B-40F3-B6A0-926652F128C7}" dt="2024-11-30T22:06:37.197" v="4128"/>
          <ac:spMkLst>
            <pc:docMk/>
            <pc:sldMk cId="1548672113" sldId="262"/>
            <ac:spMk id="99" creationId="{CE37EDB2-8A6E-00D2-7114-1412FEBB1BFB}"/>
          </ac:spMkLst>
        </pc:spChg>
        <pc:spChg chg="add del mod">
          <ac:chgData name="PJ Grant" userId="21cab94c-7745-4db5-aa88-56cdc0183ba7" providerId="ADAL" clId="{C8CD02E3-132B-40F3-B6A0-926652F128C7}" dt="2024-11-30T22:06:42.777" v="4206"/>
          <ac:spMkLst>
            <pc:docMk/>
            <pc:sldMk cId="1548672113" sldId="262"/>
            <ac:spMk id="100" creationId="{42F24F53-6BAB-9368-5286-4F029F0F1BD0}"/>
          </ac:spMkLst>
        </pc:spChg>
        <pc:spChg chg="add del mod">
          <ac:chgData name="PJ Grant" userId="21cab94c-7745-4db5-aa88-56cdc0183ba7" providerId="ADAL" clId="{C8CD02E3-132B-40F3-B6A0-926652F128C7}" dt="2024-11-30T22:06:42.776" v="4204"/>
          <ac:spMkLst>
            <pc:docMk/>
            <pc:sldMk cId="1548672113" sldId="262"/>
            <ac:spMk id="101" creationId="{8BB1647B-E5E7-D953-334C-EC23B5AAEDE1}"/>
          </ac:spMkLst>
        </pc:spChg>
        <pc:spChg chg="add del mod">
          <ac:chgData name="PJ Grant" userId="21cab94c-7745-4db5-aa88-56cdc0183ba7" providerId="ADAL" clId="{C8CD02E3-132B-40F3-B6A0-926652F128C7}" dt="2024-11-30T22:06:42.775" v="4202"/>
          <ac:spMkLst>
            <pc:docMk/>
            <pc:sldMk cId="1548672113" sldId="262"/>
            <ac:spMk id="102" creationId="{9089F058-D21A-428F-1DD6-9875C142D968}"/>
          </ac:spMkLst>
        </pc:spChg>
        <pc:spChg chg="add del mod">
          <ac:chgData name="PJ Grant" userId="21cab94c-7745-4db5-aa88-56cdc0183ba7" providerId="ADAL" clId="{C8CD02E3-132B-40F3-B6A0-926652F128C7}" dt="2024-11-30T22:06:37.196" v="4127"/>
          <ac:spMkLst>
            <pc:docMk/>
            <pc:sldMk cId="1548672113" sldId="262"/>
            <ac:spMk id="103" creationId="{F7E5EFAC-18BB-61C4-297F-1BE3CE091EE4}"/>
          </ac:spMkLst>
        </pc:spChg>
        <pc:spChg chg="add del mod modVis">
          <ac:chgData name="PJ Grant" userId="21cab94c-7745-4db5-aa88-56cdc0183ba7" providerId="ADAL" clId="{C8CD02E3-132B-40F3-B6A0-926652F128C7}" dt="2024-11-30T22:06:35.318" v="4124"/>
          <ac:spMkLst>
            <pc:docMk/>
            <pc:sldMk cId="1548672113" sldId="262"/>
            <ac:spMk id="104" creationId="{7259BD67-51FE-6DDF-CC5A-97CEAAAB6324}"/>
          </ac:spMkLst>
        </pc:spChg>
        <pc:spChg chg="add del mod">
          <ac:chgData name="PJ Grant" userId="21cab94c-7745-4db5-aa88-56cdc0183ba7" providerId="ADAL" clId="{C8CD02E3-132B-40F3-B6A0-926652F128C7}" dt="2024-11-30T22:16:24.269" v="7809"/>
          <ac:spMkLst>
            <pc:docMk/>
            <pc:sldMk cId="1548672113" sldId="262"/>
            <ac:spMk id="107" creationId="{DF7DE34B-6953-FD75-AE8A-ECA482AC8C26}"/>
          </ac:spMkLst>
        </pc:spChg>
        <pc:spChg chg="add del mod modVis">
          <ac:chgData name="PJ Grant" userId="21cab94c-7745-4db5-aa88-56cdc0183ba7" providerId="ADAL" clId="{C8CD02E3-132B-40F3-B6A0-926652F128C7}" dt="2024-11-30T22:06:49.317" v="4530"/>
          <ac:spMkLst>
            <pc:docMk/>
            <pc:sldMk cId="1548672113" sldId="262"/>
            <ac:spMk id="108" creationId="{FB1E52C6-5CC1-B85E-6C5E-57E08412DF37}"/>
          </ac:spMkLst>
        </pc:spChg>
        <pc:spChg chg="add mod">
          <ac:chgData name="PJ Grant" userId="21cab94c-7745-4db5-aa88-56cdc0183ba7" providerId="ADAL" clId="{C8CD02E3-132B-40F3-B6A0-926652F128C7}" dt="2024-12-01T00:01:04.822" v="35134"/>
          <ac:spMkLst>
            <pc:docMk/>
            <pc:sldMk cId="1548672113" sldId="262"/>
            <ac:spMk id="109" creationId="{A7EA2D17-E561-5CB2-CA0B-92D49BCE3FC9}"/>
          </ac:spMkLst>
        </pc:spChg>
        <pc:spChg chg="add mod">
          <ac:chgData name="PJ Grant" userId="21cab94c-7745-4db5-aa88-56cdc0183ba7" providerId="ADAL" clId="{C8CD02E3-132B-40F3-B6A0-926652F128C7}" dt="2024-12-01T00:01:04.818" v="35116"/>
          <ac:spMkLst>
            <pc:docMk/>
            <pc:sldMk cId="1548672113" sldId="262"/>
            <ac:spMk id="110" creationId="{5A039BE4-B19B-238D-E78E-A2E7FFDD4F8A}"/>
          </ac:spMkLst>
        </pc:spChg>
        <pc:spChg chg="add mod">
          <ac:chgData name="PJ Grant" userId="21cab94c-7745-4db5-aa88-56cdc0183ba7" providerId="ADAL" clId="{C8CD02E3-132B-40F3-B6A0-926652F128C7}" dt="2024-12-01T00:01:04.818" v="35117"/>
          <ac:spMkLst>
            <pc:docMk/>
            <pc:sldMk cId="1548672113" sldId="262"/>
            <ac:spMk id="111" creationId="{0FDB2750-3C49-C316-DBFE-30F8407DE2E8}"/>
          </ac:spMkLst>
        </pc:spChg>
        <pc:spChg chg="add del mod">
          <ac:chgData name="PJ Grant" userId="21cab94c-7745-4db5-aa88-56cdc0183ba7" providerId="ADAL" clId="{C8CD02E3-132B-40F3-B6A0-926652F128C7}" dt="2024-11-30T22:07:00.021" v="4790"/>
          <ac:spMkLst>
            <pc:docMk/>
            <pc:sldMk cId="1548672113" sldId="262"/>
            <ac:spMk id="112" creationId="{BE5E063A-D663-EB44-EA2C-3941F5EAC57B}"/>
          </ac:spMkLst>
        </pc:spChg>
        <pc:spChg chg="add del mod ord">
          <ac:chgData name="PJ Grant" userId="21cab94c-7745-4db5-aa88-56cdc0183ba7" providerId="ADAL" clId="{C8CD02E3-132B-40F3-B6A0-926652F128C7}" dt="2024-11-30T22:16:24.268" v="7808"/>
          <ac:spMkLst>
            <pc:docMk/>
            <pc:sldMk cId="1548672113" sldId="262"/>
            <ac:spMk id="114" creationId="{7FA23EEA-3C26-8222-17CD-0BFF96E29381}"/>
          </ac:spMkLst>
        </pc:spChg>
        <pc:spChg chg="add mod ord">
          <ac:chgData name="PJ Grant" userId="21cab94c-7745-4db5-aa88-56cdc0183ba7" providerId="ADAL" clId="{C8CD02E3-132B-40F3-B6A0-926652F128C7}" dt="2024-12-01T00:01:04.821" v="35127"/>
          <ac:spMkLst>
            <pc:docMk/>
            <pc:sldMk cId="1548672113" sldId="262"/>
            <ac:spMk id="115" creationId="{D20E21A3-871E-A8C7-4960-44141FCFCEE4}"/>
          </ac:spMkLst>
        </pc:spChg>
        <pc:spChg chg="add del mod modVis">
          <ac:chgData name="PJ Grant" userId="21cab94c-7745-4db5-aa88-56cdc0183ba7" providerId="ADAL" clId="{C8CD02E3-132B-40F3-B6A0-926652F128C7}" dt="2024-11-30T22:06:54.912" v="4621"/>
          <ac:spMkLst>
            <pc:docMk/>
            <pc:sldMk cId="1548672113" sldId="262"/>
            <ac:spMk id="116" creationId="{9D4C61A0-FEA8-9942-9EF8-E25F2C907F47}"/>
          </ac:spMkLst>
        </pc:spChg>
        <pc:spChg chg="add del mod modVis">
          <ac:chgData name="PJ Grant" userId="21cab94c-7745-4db5-aa88-56cdc0183ba7" providerId="ADAL" clId="{C8CD02E3-132B-40F3-B6A0-926652F128C7}" dt="2024-11-30T22:06:56.602" v="4704"/>
          <ac:spMkLst>
            <pc:docMk/>
            <pc:sldMk cId="1548672113" sldId="262"/>
            <ac:spMk id="118" creationId="{960A9E1C-234F-B532-0783-3C59438C04E2}"/>
          </ac:spMkLst>
        </pc:spChg>
        <pc:spChg chg="add del mod modVis">
          <ac:chgData name="PJ Grant" userId="21cab94c-7745-4db5-aa88-56cdc0183ba7" providerId="ADAL" clId="{C8CD02E3-132B-40F3-B6A0-926652F128C7}" dt="2024-11-30T22:06:59.023" v="4787"/>
          <ac:spMkLst>
            <pc:docMk/>
            <pc:sldMk cId="1548672113" sldId="262"/>
            <ac:spMk id="120" creationId="{5D0DF181-0B5B-D5B9-C675-B0788779EC26}"/>
          </ac:spMkLst>
        </pc:spChg>
        <pc:spChg chg="add del mod modVis">
          <ac:chgData name="PJ Grant" userId="21cab94c-7745-4db5-aa88-56cdc0183ba7" providerId="ADAL" clId="{C8CD02E3-132B-40F3-B6A0-926652F128C7}" dt="2024-11-30T22:07:05.395" v="4897"/>
          <ac:spMkLst>
            <pc:docMk/>
            <pc:sldMk cId="1548672113" sldId="262"/>
            <ac:spMk id="123" creationId="{F206D132-24BA-DACE-2E52-79E69AC79514}"/>
          </ac:spMkLst>
        </pc:spChg>
        <pc:spChg chg="add del mod modVis">
          <ac:chgData name="PJ Grant" userId="21cab94c-7745-4db5-aa88-56cdc0183ba7" providerId="ADAL" clId="{C8CD02E3-132B-40F3-B6A0-926652F128C7}" dt="2024-11-30T22:07:07.600" v="4964"/>
          <ac:spMkLst>
            <pc:docMk/>
            <pc:sldMk cId="1548672113" sldId="262"/>
            <ac:spMk id="125" creationId="{90AB7B91-F511-2963-113E-FF185B82F3A1}"/>
          </ac:spMkLst>
        </pc:spChg>
        <pc:spChg chg="add del mod">
          <ac:chgData name="PJ Grant" userId="21cab94c-7745-4db5-aa88-56cdc0183ba7" providerId="ADAL" clId="{C8CD02E3-132B-40F3-B6A0-926652F128C7}" dt="2024-11-30T22:16:21.823" v="7537"/>
          <ac:spMkLst>
            <pc:docMk/>
            <pc:sldMk cId="1548672113" sldId="262"/>
            <ac:spMk id="127" creationId="{F25F9E95-7419-3A16-1676-6C6C33DD28CC}"/>
          </ac:spMkLst>
        </pc:spChg>
        <pc:spChg chg="add del mod">
          <ac:chgData name="PJ Grant" userId="21cab94c-7745-4db5-aa88-56cdc0183ba7" providerId="ADAL" clId="{C8CD02E3-132B-40F3-B6A0-926652F128C7}" dt="2024-11-30T22:16:18.773" v="7325"/>
          <ac:spMkLst>
            <pc:docMk/>
            <pc:sldMk cId="1548672113" sldId="262"/>
            <ac:spMk id="128" creationId="{EB87D7BA-1D7B-B575-3BA6-3063E54EBB9F}"/>
          </ac:spMkLst>
        </pc:spChg>
        <pc:spChg chg="add del mod modVis">
          <ac:chgData name="PJ Grant" userId="21cab94c-7745-4db5-aa88-56cdc0183ba7" providerId="ADAL" clId="{C8CD02E3-132B-40F3-B6A0-926652F128C7}" dt="2024-11-30T22:07:21.526" v="5106"/>
          <ac:spMkLst>
            <pc:docMk/>
            <pc:sldMk cId="1548672113" sldId="262"/>
            <ac:spMk id="129" creationId="{FED8C486-3494-1668-14BF-368B999D9D81}"/>
          </ac:spMkLst>
        </pc:spChg>
        <pc:spChg chg="add del mod ord">
          <ac:chgData name="PJ Grant" userId="21cab94c-7745-4db5-aa88-56cdc0183ba7" providerId="ADAL" clId="{C8CD02E3-132B-40F3-B6A0-926652F128C7}" dt="2024-11-30T22:16:21.823" v="7536"/>
          <ac:spMkLst>
            <pc:docMk/>
            <pc:sldMk cId="1548672113" sldId="262"/>
            <ac:spMk id="131" creationId="{A877A1AD-F14A-C413-B5DF-7B7A9D5EB91A}"/>
          </ac:spMkLst>
        </pc:spChg>
        <pc:spChg chg="add del mod ord">
          <ac:chgData name="PJ Grant" userId="21cab94c-7745-4db5-aa88-56cdc0183ba7" providerId="ADAL" clId="{C8CD02E3-132B-40F3-B6A0-926652F128C7}" dt="2024-11-30T22:16:18.772" v="7324"/>
          <ac:spMkLst>
            <pc:docMk/>
            <pc:sldMk cId="1548672113" sldId="262"/>
            <ac:spMk id="132" creationId="{6F190018-3110-620F-5091-2D612359986D}"/>
          </ac:spMkLst>
        </pc:spChg>
        <pc:spChg chg="add del mod modVis">
          <ac:chgData name="PJ Grant" userId="21cab94c-7745-4db5-aa88-56cdc0183ba7" providerId="ADAL" clId="{C8CD02E3-132B-40F3-B6A0-926652F128C7}" dt="2024-11-30T22:07:34.657" v="5271"/>
          <ac:spMkLst>
            <pc:docMk/>
            <pc:sldMk cId="1548672113" sldId="262"/>
            <ac:spMk id="133" creationId="{CA106C34-3B04-BFDE-C7A2-A0B59AB0954E}"/>
          </ac:spMkLst>
        </pc:spChg>
        <pc:spChg chg="add mod">
          <ac:chgData name="PJ Grant" userId="21cab94c-7745-4db5-aa88-56cdc0183ba7" providerId="ADAL" clId="{C8CD02E3-132B-40F3-B6A0-926652F128C7}" dt="2024-12-01T00:01:04.824" v="35140"/>
          <ac:spMkLst>
            <pc:docMk/>
            <pc:sldMk cId="1548672113" sldId="262"/>
            <ac:spMk id="135" creationId="{5E93CC41-E495-87CD-3C93-DDB71C03B183}"/>
          </ac:spMkLst>
        </pc:spChg>
        <pc:spChg chg="add mod">
          <ac:chgData name="PJ Grant" userId="21cab94c-7745-4db5-aa88-56cdc0183ba7" providerId="ADAL" clId="{C8CD02E3-132B-40F3-B6A0-926652F128C7}" dt="2024-12-01T00:01:04.826" v="35141"/>
          <ac:spMkLst>
            <pc:docMk/>
            <pc:sldMk cId="1548672113" sldId="262"/>
            <ac:spMk id="136" creationId="{5398725C-EFDC-436F-1E1C-320907BE175E}"/>
          </ac:spMkLst>
        </pc:spChg>
        <pc:spChg chg="add del mod">
          <ac:chgData name="PJ Grant" userId="21cab94c-7745-4db5-aa88-56cdc0183ba7" providerId="ADAL" clId="{C8CD02E3-132B-40F3-B6A0-926652F128C7}" dt="2024-11-30T22:07:46.915" v="5531"/>
          <ac:spMkLst>
            <pc:docMk/>
            <pc:sldMk cId="1548672113" sldId="262"/>
            <ac:spMk id="137" creationId="{0901B904-9331-6713-1262-73B7C914494A}"/>
          </ac:spMkLst>
        </pc:spChg>
        <pc:spChg chg="add del mod">
          <ac:chgData name="PJ Grant" userId="21cab94c-7745-4db5-aa88-56cdc0183ba7" providerId="ADAL" clId="{C8CD02E3-132B-40F3-B6A0-926652F128C7}" dt="2024-11-30T22:07:46.914" v="5529"/>
          <ac:spMkLst>
            <pc:docMk/>
            <pc:sldMk cId="1548672113" sldId="262"/>
            <ac:spMk id="138" creationId="{53BBCC56-9DC9-07F7-5A1C-96F02F256A41}"/>
          </ac:spMkLst>
        </pc:spChg>
        <pc:spChg chg="add del mod">
          <ac:chgData name="PJ Grant" userId="21cab94c-7745-4db5-aa88-56cdc0183ba7" providerId="ADAL" clId="{C8CD02E3-132B-40F3-B6A0-926652F128C7}" dt="2024-11-30T22:07:46.914" v="5527"/>
          <ac:spMkLst>
            <pc:docMk/>
            <pc:sldMk cId="1548672113" sldId="262"/>
            <ac:spMk id="139" creationId="{7CE83C39-D8E3-4E10-5C06-7FB0541D2332}"/>
          </ac:spMkLst>
        </pc:spChg>
        <pc:spChg chg="add del mod">
          <ac:chgData name="PJ Grant" userId="21cab94c-7745-4db5-aa88-56cdc0183ba7" providerId="ADAL" clId="{C8CD02E3-132B-40F3-B6A0-926652F128C7}" dt="2024-11-30T22:07:46.912" v="5525"/>
          <ac:spMkLst>
            <pc:docMk/>
            <pc:sldMk cId="1548672113" sldId="262"/>
            <ac:spMk id="140" creationId="{9E7E7589-785A-0A8A-CA75-80D13EFC4312}"/>
          </ac:spMkLst>
        </pc:spChg>
        <pc:spChg chg="add del mod">
          <ac:chgData name="PJ Grant" userId="21cab94c-7745-4db5-aa88-56cdc0183ba7" providerId="ADAL" clId="{C8CD02E3-132B-40F3-B6A0-926652F128C7}" dt="2024-11-30T22:07:46.915" v="5532"/>
          <ac:spMkLst>
            <pc:docMk/>
            <pc:sldMk cId="1548672113" sldId="262"/>
            <ac:spMk id="141" creationId="{7C9D3661-DF8D-CF04-E5E4-992FD8FD530E}"/>
          </ac:spMkLst>
        </pc:spChg>
        <pc:spChg chg="add del mod">
          <ac:chgData name="PJ Grant" userId="21cab94c-7745-4db5-aa88-56cdc0183ba7" providerId="ADAL" clId="{C8CD02E3-132B-40F3-B6A0-926652F128C7}" dt="2024-11-30T22:07:46.914" v="5530"/>
          <ac:spMkLst>
            <pc:docMk/>
            <pc:sldMk cId="1548672113" sldId="262"/>
            <ac:spMk id="142" creationId="{35400FB6-6E9C-0762-71D9-1DFAC0BAB409}"/>
          </ac:spMkLst>
        </pc:spChg>
        <pc:spChg chg="add del mod">
          <ac:chgData name="PJ Grant" userId="21cab94c-7745-4db5-aa88-56cdc0183ba7" providerId="ADAL" clId="{C8CD02E3-132B-40F3-B6A0-926652F128C7}" dt="2024-11-30T22:07:46.914" v="5528"/>
          <ac:spMkLst>
            <pc:docMk/>
            <pc:sldMk cId="1548672113" sldId="262"/>
            <ac:spMk id="143" creationId="{5E301E59-DD69-FEF8-DDF4-AB19534D1BE2}"/>
          </ac:spMkLst>
        </pc:spChg>
        <pc:spChg chg="add del mod">
          <ac:chgData name="PJ Grant" userId="21cab94c-7745-4db5-aa88-56cdc0183ba7" providerId="ADAL" clId="{C8CD02E3-132B-40F3-B6A0-926652F128C7}" dt="2024-11-30T22:07:46.913" v="5526"/>
          <ac:spMkLst>
            <pc:docMk/>
            <pc:sldMk cId="1548672113" sldId="262"/>
            <ac:spMk id="144" creationId="{D4C3BBD9-808F-D09F-DC2E-17687C710880}"/>
          </ac:spMkLst>
        </pc:spChg>
        <pc:spChg chg="add del mod modVis">
          <ac:chgData name="PJ Grant" userId="21cab94c-7745-4db5-aa88-56cdc0183ba7" providerId="ADAL" clId="{C8CD02E3-132B-40F3-B6A0-926652F128C7}" dt="2024-11-30T22:07:44.261" v="5522"/>
          <ac:spMkLst>
            <pc:docMk/>
            <pc:sldMk cId="1548672113" sldId="262"/>
            <ac:spMk id="145" creationId="{DE884F4E-E545-4936-297E-077E2BB89B9F}"/>
          </ac:spMkLst>
        </pc:spChg>
        <pc:spChg chg="add mod ord">
          <ac:chgData name="PJ Grant" userId="21cab94c-7745-4db5-aa88-56cdc0183ba7" providerId="ADAL" clId="{C8CD02E3-132B-40F3-B6A0-926652F128C7}" dt="2024-12-01T00:01:04.829" v="35153"/>
          <ac:spMkLst>
            <pc:docMk/>
            <pc:sldMk cId="1548672113" sldId="262"/>
            <ac:spMk id="148" creationId="{DE8F6BF3-C5C8-C36C-2FA8-567C946F4BA1}"/>
          </ac:spMkLst>
        </pc:spChg>
        <pc:spChg chg="add del mod ord">
          <ac:chgData name="PJ Grant" userId="21cab94c-7745-4db5-aa88-56cdc0183ba7" providerId="ADAL" clId="{C8CD02E3-132B-40F3-B6A0-926652F128C7}" dt="2024-12-01T00:00:38.146" v="34953" actId="478"/>
          <ac:spMkLst>
            <pc:docMk/>
            <pc:sldMk cId="1548672113" sldId="262"/>
            <ac:spMk id="154" creationId="{0C345380-459B-6849-FEB2-22E15CB1F8D4}"/>
          </ac:spMkLst>
        </pc:spChg>
        <pc:spChg chg="add del mod ord">
          <ac:chgData name="PJ Grant" userId="21cab94c-7745-4db5-aa88-56cdc0183ba7" providerId="ADAL" clId="{C8CD02E3-132B-40F3-B6A0-926652F128C7}" dt="2024-12-01T00:00:38.146" v="34953" actId="478"/>
          <ac:spMkLst>
            <pc:docMk/>
            <pc:sldMk cId="1548672113" sldId="262"/>
            <ac:spMk id="155" creationId="{AB08DE91-25C4-6C75-AA80-A02F1F67C19D}"/>
          </ac:spMkLst>
        </pc:spChg>
        <pc:spChg chg="add mod ord">
          <ac:chgData name="PJ Grant" userId="21cab94c-7745-4db5-aa88-56cdc0183ba7" providerId="ADAL" clId="{C8CD02E3-132B-40F3-B6A0-926652F128C7}" dt="2024-12-01T00:15:41.164" v="35795" actId="6549"/>
          <ac:spMkLst>
            <pc:docMk/>
            <pc:sldMk cId="1548672113" sldId="262"/>
            <ac:spMk id="156" creationId="{E8986118-981E-C2C9-57CA-FC64899A25ED}"/>
          </ac:spMkLst>
        </pc:spChg>
        <pc:spChg chg="add del mod ord">
          <ac:chgData name="PJ Grant" userId="21cab94c-7745-4db5-aa88-56cdc0183ba7" providerId="ADAL" clId="{C8CD02E3-132B-40F3-B6A0-926652F128C7}" dt="2024-12-01T00:00:38.146" v="34953" actId="478"/>
          <ac:spMkLst>
            <pc:docMk/>
            <pc:sldMk cId="1548672113" sldId="262"/>
            <ac:spMk id="157" creationId="{B76E7CBF-3FF6-F055-BAE7-4A86DCD54B70}"/>
          </ac:spMkLst>
        </pc:spChg>
        <pc:spChg chg="add mod ord">
          <ac:chgData name="PJ Grant" userId="21cab94c-7745-4db5-aa88-56cdc0183ba7" providerId="ADAL" clId="{C8CD02E3-132B-40F3-B6A0-926652F128C7}" dt="2024-12-01T00:01:04.830" v="35157"/>
          <ac:spMkLst>
            <pc:docMk/>
            <pc:sldMk cId="1548672113" sldId="262"/>
            <ac:spMk id="160" creationId="{F6726AC6-7AC8-CEDA-977A-F8BA87A28F21}"/>
          </ac:spMkLst>
        </pc:spChg>
        <pc:spChg chg="add del mod modVis">
          <ac:chgData name="PJ Grant" userId="21cab94c-7745-4db5-aa88-56cdc0183ba7" providerId="ADAL" clId="{C8CD02E3-132B-40F3-B6A0-926652F128C7}" dt="2024-11-30T22:15:09.200" v="6235"/>
          <ac:spMkLst>
            <pc:docMk/>
            <pc:sldMk cId="1548672113" sldId="262"/>
            <ac:spMk id="163" creationId="{B0626CDA-7AF8-383B-8005-80DEC1FFC7A9}"/>
          </ac:spMkLst>
        </pc:spChg>
        <pc:spChg chg="add del mod">
          <ac:chgData name="PJ Grant" userId="21cab94c-7745-4db5-aa88-56cdc0183ba7" providerId="ADAL" clId="{C8CD02E3-132B-40F3-B6A0-926652F128C7}" dt="2024-11-30T22:15:52.757" v="6314"/>
          <ac:spMkLst>
            <pc:docMk/>
            <pc:sldMk cId="1548672113" sldId="262"/>
            <ac:spMk id="164" creationId="{D6A50B44-46D3-9A43-11B2-68618A692A03}"/>
          </ac:spMkLst>
        </pc:spChg>
        <pc:spChg chg="add del mod">
          <ac:chgData name="PJ Grant" userId="21cab94c-7745-4db5-aa88-56cdc0183ba7" providerId="ADAL" clId="{C8CD02E3-132B-40F3-B6A0-926652F128C7}" dt="2024-11-30T22:15:52.757" v="6315"/>
          <ac:spMkLst>
            <pc:docMk/>
            <pc:sldMk cId="1548672113" sldId="262"/>
            <ac:spMk id="165" creationId="{349CD814-21C3-983B-2264-100D2D4B9977}"/>
          </ac:spMkLst>
        </pc:spChg>
        <pc:spChg chg="add del mod">
          <ac:chgData name="PJ Grant" userId="21cab94c-7745-4db5-aa88-56cdc0183ba7" providerId="ADAL" clId="{C8CD02E3-132B-40F3-B6A0-926652F128C7}" dt="2024-11-30T22:15:52.758" v="6316"/>
          <ac:spMkLst>
            <pc:docMk/>
            <pc:sldMk cId="1548672113" sldId="262"/>
            <ac:spMk id="166" creationId="{F62F4E34-5561-F29B-847B-C3A0C9353B51}"/>
          </ac:spMkLst>
        </pc:spChg>
        <pc:spChg chg="add del mod">
          <ac:chgData name="PJ Grant" userId="21cab94c-7745-4db5-aa88-56cdc0183ba7" providerId="ADAL" clId="{C8CD02E3-132B-40F3-B6A0-926652F128C7}" dt="2024-11-30T22:15:52.758" v="6317"/>
          <ac:spMkLst>
            <pc:docMk/>
            <pc:sldMk cId="1548672113" sldId="262"/>
            <ac:spMk id="167" creationId="{AB573CFD-0FE9-66E2-24FC-1D9CF5CC3A23}"/>
          </ac:spMkLst>
        </pc:spChg>
        <pc:spChg chg="add del mod modVis">
          <ac:chgData name="PJ Grant" userId="21cab94c-7745-4db5-aa88-56cdc0183ba7" providerId="ADAL" clId="{C8CD02E3-132B-40F3-B6A0-926652F128C7}" dt="2024-11-30T22:15:52.874" v="6368"/>
          <ac:spMkLst>
            <pc:docMk/>
            <pc:sldMk cId="1548672113" sldId="262"/>
            <ac:spMk id="169" creationId="{693121DD-201D-5E6F-F985-550EC4777E9B}"/>
          </ac:spMkLst>
        </pc:spChg>
        <pc:spChg chg="add del mod">
          <ac:chgData name="PJ Grant" userId="21cab94c-7745-4db5-aa88-56cdc0183ba7" providerId="ADAL" clId="{C8CD02E3-132B-40F3-B6A0-926652F128C7}" dt="2024-11-30T22:15:56.276" v="6501"/>
          <ac:spMkLst>
            <pc:docMk/>
            <pc:sldMk cId="1548672113" sldId="262"/>
            <ac:spMk id="171" creationId="{D64794D8-1066-2F3D-B53B-EA6E1CA5F4C3}"/>
          </ac:spMkLst>
        </pc:spChg>
        <pc:spChg chg="add del mod modVis">
          <ac:chgData name="PJ Grant" userId="21cab94c-7745-4db5-aa88-56cdc0183ba7" providerId="ADAL" clId="{C8CD02E3-132B-40F3-B6A0-926652F128C7}" dt="2024-11-30T22:15:55.201" v="6490"/>
          <ac:spMkLst>
            <pc:docMk/>
            <pc:sldMk cId="1548672113" sldId="262"/>
            <ac:spMk id="172" creationId="{9ABFD4DF-DB7A-1184-AA6D-2CB7D3F5FED4}"/>
          </ac:spMkLst>
        </pc:spChg>
        <pc:spChg chg="add del mod modVis">
          <ac:chgData name="PJ Grant" userId="21cab94c-7745-4db5-aa88-56cdc0183ba7" providerId="ADAL" clId="{C8CD02E3-132B-40F3-B6A0-926652F128C7}" dt="2024-11-30T22:15:58.415" v="7007"/>
          <ac:spMkLst>
            <pc:docMk/>
            <pc:sldMk cId="1548672113" sldId="262"/>
            <ac:spMk id="175" creationId="{D136060C-F726-8D98-268A-1DA7DE3DD2D1}"/>
          </ac:spMkLst>
        </pc:spChg>
        <pc:spChg chg="add del mod">
          <ac:chgData name="PJ Grant" userId="21cab94c-7745-4db5-aa88-56cdc0183ba7" providerId="ADAL" clId="{C8CD02E3-132B-40F3-B6A0-926652F128C7}" dt="2024-11-30T22:16:24.203" v="7768"/>
          <ac:spMkLst>
            <pc:docMk/>
            <pc:sldMk cId="1548672113" sldId="262"/>
            <ac:spMk id="176" creationId="{37173BA1-28AE-B1AD-4983-127F10285DD3}"/>
          </ac:spMkLst>
        </pc:spChg>
        <pc:spChg chg="add mod">
          <ac:chgData name="PJ Grant" userId="21cab94c-7745-4db5-aa88-56cdc0183ba7" providerId="ADAL" clId="{C8CD02E3-132B-40F3-B6A0-926652F128C7}" dt="2024-12-01T00:01:04.818" v="35118"/>
          <ac:spMkLst>
            <pc:docMk/>
            <pc:sldMk cId="1548672113" sldId="262"/>
            <ac:spMk id="177" creationId="{6151FCB7-6D82-3937-A3FD-154D041A31F7}"/>
          </ac:spMkLst>
        </pc:spChg>
        <pc:spChg chg="add del mod">
          <ac:chgData name="PJ Grant" userId="21cab94c-7745-4db5-aa88-56cdc0183ba7" providerId="ADAL" clId="{C8CD02E3-132B-40F3-B6A0-926652F128C7}" dt="2024-11-30T22:16:21.824" v="7538"/>
          <ac:spMkLst>
            <pc:docMk/>
            <pc:sldMk cId="1548672113" sldId="262"/>
            <ac:spMk id="178" creationId="{6585EFD4-CBCE-1797-39C3-05519BD3D48E}"/>
          </ac:spMkLst>
        </pc:spChg>
        <pc:spChg chg="add del mod">
          <ac:chgData name="PJ Grant" userId="21cab94c-7745-4db5-aa88-56cdc0183ba7" providerId="ADAL" clId="{C8CD02E3-132B-40F3-B6A0-926652F128C7}" dt="2024-11-30T22:16:18.773" v="7326"/>
          <ac:spMkLst>
            <pc:docMk/>
            <pc:sldMk cId="1548672113" sldId="262"/>
            <ac:spMk id="179" creationId="{BD10864F-5E7F-0BD9-8549-EC124702241F}"/>
          </ac:spMkLst>
        </pc:spChg>
        <pc:spChg chg="add del mod">
          <ac:chgData name="PJ Grant" userId="21cab94c-7745-4db5-aa88-56cdc0183ba7" providerId="ADAL" clId="{C8CD02E3-132B-40F3-B6A0-926652F128C7}" dt="2024-11-30T22:16:24.235" v="7786"/>
          <ac:spMkLst>
            <pc:docMk/>
            <pc:sldMk cId="1548672113" sldId="262"/>
            <ac:spMk id="180" creationId="{6DCD8418-6DC2-8BEB-68D3-A8C310C137ED}"/>
          </ac:spMkLst>
        </pc:spChg>
        <pc:spChg chg="add mod">
          <ac:chgData name="PJ Grant" userId="21cab94c-7745-4db5-aa88-56cdc0183ba7" providerId="ADAL" clId="{C8CD02E3-132B-40F3-B6A0-926652F128C7}" dt="2024-12-01T00:01:04.819" v="35119"/>
          <ac:spMkLst>
            <pc:docMk/>
            <pc:sldMk cId="1548672113" sldId="262"/>
            <ac:spMk id="181" creationId="{5E7FC4DF-C099-248F-1894-7F2CF7AE7B9B}"/>
          </ac:spMkLst>
        </pc:spChg>
        <pc:spChg chg="add del mod">
          <ac:chgData name="PJ Grant" userId="21cab94c-7745-4db5-aa88-56cdc0183ba7" providerId="ADAL" clId="{C8CD02E3-132B-40F3-B6A0-926652F128C7}" dt="2024-11-30T22:16:21.824" v="7539"/>
          <ac:spMkLst>
            <pc:docMk/>
            <pc:sldMk cId="1548672113" sldId="262"/>
            <ac:spMk id="182" creationId="{15E0AF82-A23C-88B0-36BD-9ED9B3DEF8EB}"/>
          </ac:spMkLst>
        </pc:spChg>
        <pc:spChg chg="add del mod">
          <ac:chgData name="PJ Grant" userId="21cab94c-7745-4db5-aa88-56cdc0183ba7" providerId="ADAL" clId="{C8CD02E3-132B-40F3-B6A0-926652F128C7}" dt="2024-11-30T22:16:18.774" v="7327"/>
          <ac:spMkLst>
            <pc:docMk/>
            <pc:sldMk cId="1548672113" sldId="262"/>
            <ac:spMk id="183" creationId="{B0AB614F-E002-4FD3-F6BA-EA7F9EFB6F3B}"/>
          </ac:spMkLst>
        </pc:spChg>
        <pc:spChg chg="add del mod modVis">
          <ac:chgData name="PJ Grant" userId="21cab94c-7745-4db5-aa88-56cdc0183ba7" providerId="ADAL" clId="{C8CD02E3-132B-40F3-B6A0-926652F128C7}" dt="2024-11-30T22:16:03.762" v="7214"/>
          <ac:spMkLst>
            <pc:docMk/>
            <pc:sldMk cId="1548672113" sldId="262"/>
            <ac:spMk id="185" creationId="{85B8C15C-17DC-0E20-5084-828A691F5FB4}"/>
          </ac:spMkLst>
        </pc:spChg>
        <pc:spChg chg="add mod">
          <ac:chgData name="PJ Grant" userId="21cab94c-7745-4db5-aa88-56cdc0183ba7" providerId="ADAL" clId="{C8CD02E3-132B-40F3-B6A0-926652F128C7}" dt="2024-12-01T00:01:04.823" v="35135"/>
          <ac:spMkLst>
            <pc:docMk/>
            <pc:sldMk cId="1548672113" sldId="262"/>
            <ac:spMk id="188" creationId="{0FA9610E-A457-1A9E-2DE1-1EB969E24A7A}"/>
          </ac:spMkLst>
        </pc:spChg>
        <pc:spChg chg="add mod">
          <ac:chgData name="PJ Grant" userId="21cab94c-7745-4db5-aa88-56cdc0183ba7" providerId="ADAL" clId="{C8CD02E3-132B-40F3-B6A0-926652F128C7}" dt="2024-12-01T00:01:04.819" v="35120"/>
          <ac:spMkLst>
            <pc:docMk/>
            <pc:sldMk cId="1548672113" sldId="262"/>
            <ac:spMk id="189" creationId="{DB0CEA52-5329-8D92-2952-435B0524E8AD}"/>
          </ac:spMkLst>
        </pc:spChg>
        <pc:spChg chg="add mod">
          <ac:chgData name="PJ Grant" userId="21cab94c-7745-4db5-aa88-56cdc0183ba7" providerId="ADAL" clId="{C8CD02E3-132B-40F3-B6A0-926652F128C7}" dt="2024-12-01T00:01:04.819" v="35121"/>
          <ac:spMkLst>
            <pc:docMk/>
            <pc:sldMk cId="1548672113" sldId="262"/>
            <ac:spMk id="190" creationId="{A7F87DB9-AF87-FAF6-E9D9-CE7AB124CEBD}"/>
          </ac:spMkLst>
        </pc:spChg>
        <pc:spChg chg="add del mod modVis">
          <ac:chgData name="PJ Grant" userId="21cab94c-7745-4db5-aa88-56cdc0183ba7" providerId="ADAL" clId="{C8CD02E3-132B-40F3-B6A0-926652F128C7}" dt="2024-11-30T22:16:19.040" v="7532"/>
          <ac:spMkLst>
            <pc:docMk/>
            <pc:sldMk cId="1548672113" sldId="262"/>
            <ac:spMk id="191" creationId="{92920374-4DBA-16AB-1A81-C50DFA8B8E2E}"/>
          </ac:spMkLst>
        </pc:spChg>
        <pc:spChg chg="add mod ord">
          <ac:chgData name="PJ Grant" userId="21cab94c-7745-4db5-aa88-56cdc0183ba7" providerId="ADAL" clId="{C8CD02E3-132B-40F3-B6A0-926652F128C7}" dt="2024-12-01T00:01:04.821" v="35129"/>
          <ac:spMkLst>
            <pc:docMk/>
            <pc:sldMk cId="1548672113" sldId="262"/>
            <ac:spMk id="193" creationId="{B2B42245-A4AE-D9D6-F975-2D00F0042468}"/>
          </ac:spMkLst>
        </pc:spChg>
        <pc:spChg chg="add mod">
          <ac:chgData name="PJ Grant" userId="21cab94c-7745-4db5-aa88-56cdc0183ba7" providerId="ADAL" clId="{C8CD02E3-132B-40F3-B6A0-926652F128C7}" dt="2024-12-01T00:01:04.823" v="35136"/>
          <ac:spMkLst>
            <pc:docMk/>
            <pc:sldMk cId="1548672113" sldId="262"/>
            <ac:spMk id="194" creationId="{A0D5C78C-3EE2-FC5B-89CF-951B6AE26B42}"/>
          </ac:spMkLst>
        </pc:spChg>
        <pc:spChg chg="add mod">
          <ac:chgData name="PJ Grant" userId="21cab94c-7745-4db5-aa88-56cdc0183ba7" providerId="ADAL" clId="{C8CD02E3-132B-40F3-B6A0-926652F128C7}" dt="2024-12-01T00:01:04.819" v="35122"/>
          <ac:spMkLst>
            <pc:docMk/>
            <pc:sldMk cId="1548672113" sldId="262"/>
            <ac:spMk id="195" creationId="{62AC3C11-8C4E-D8DC-5A07-85CF2CD988AB}"/>
          </ac:spMkLst>
        </pc:spChg>
        <pc:spChg chg="add mod">
          <ac:chgData name="PJ Grant" userId="21cab94c-7745-4db5-aa88-56cdc0183ba7" providerId="ADAL" clId="{C8CD02E3-132B-40F3-B6A0-926652F128C7}" dt="2024-12-01T00:01:04.820" v="35123"/>
          <ac:spMkLst>
            <pc:docMk/>
            <pc:sldMk cId="1548672113" sldId="262"/>
            <ac:spMk id="196" creationId="{DE330267-26E5-BF4C-1880-FC343F9855E3}"/>
          </ac:spMkLst>
        </pc:spChg>
        <pc:spChg chg="add del mod modVis">
          <ac:chgData name="PJ Grant" userId="21cab94c-7745-4db5-aa88-56cdc0183ba7" providerId="ADAL" clId="{C8CD02E3-132B-40F3-B6A0-926652F128C7}" dt="2024-11-30T22:16:22.129" v="7731"/>
          <ac:spMkLst>
            <pc:docMk/>
            <pc:sldMk cId="1548672113" sldId="262"/>
            <ac:spMk id="197" creationId="{7017F0A9-9868-B809-EA07-45627D861E4A}"/>
          </ac:spMkLst>
        </pc:spChg>
        <pc:spChg chg="add mod ord">
          <ac:chgData name="PJ Grant" userId="21cab94c-7745-4db5-aa88-56cdc0183ba7" providerId="ADAL" clId="{C8CD02E3-132B-40F3-B6A0-926652F128C7}" dt="2024-12-01T00:01:04.822" v="35131"/>
          <ac:spMkLst>
            <pc:docMk/>
            <pc:sldMk cId="1548672113" sldId="262"/>
            <ac:spMk id="199" creationId="{A3A31776-5553-F23C-C2F4-8E23713B0B0D}"/>
          </ac:spMkLst>
        </pc:spChg>
        <pc:spChg chg="add mod">
          <ac:chgData name="PJ Grant" userId="21cab94c-7745-4db5-aa88-56cdc0183ba7" providerId="ADAL" clId="{C8CD02E3-132B-40F3-B6A0-926652F128C7}" dt="2024-12-01T00:01:04.824" v="35137"/>
          <ac:spMkLst>
            <pc:docMk/>
            <pc:sldMk cId="1548672113" sldId="262"/>
            <ac:spMk id="200" creationId="{E24B816C-49EF-6299-6DAD-99B21D4F9D8B}"/>
          </ac:spMkLst>
        </pc:spChg>
        <pc:spChg chg="add mod">
          <ac:chgData name="PJ Grant" userId="21cab94c-7745-4db5-aa88-56cdc0183ba7" providerId="ADAL" clId="{C8CD02E3-132B-40F3-B6A0-926652F128C7}" dt="2024-12-01T00:01:04.820" v="35124"/>
          <ac:spMkLst>
            <pc:docMk/>
            <pc:sldMk cId="1548672113" sldId="262"/>
            <ac:spMk id="201" creationId="{68D7F95A-11B9-F9D3-B82E-4CF9572CA51A}"/>
          </ac:spMkLst>
        </pc:spChg>
        <pc:spChg chg="add mod">
          <ac:chgData name="PJ Grant" userId="21cab94c-7745-4db5-aa88-56cdc0183ba7" providerId="ADAL" clId="{C8CD02E3-132B-40F3-B6A0-926652F128C7}" dt="2024-12-01T00:01:04.820" v="35125"/>
          <ac:spMkLst>
            <pc:docMk/>
            <pc:sldMk cId="1548672113" sldId="262"/>
            <ac:spMk id="202" creationId="{D94DC5AD-E4E9-0E23-9C6C-99F9E0D2DD80}"/>
          </ac:spMkLst>
        </pc:spChg>
        <pc:spChg chg="add del mod modVis">
          <ac:chgData name="PJ Grant" userId="21cab94c-7745-4db5-aa88-56cdc0183ba7" providerId="ADAL" clId="{C8CD02E3-132B-40F3-B6A0-926652F128C7}" dt="2024-11-30T22:16:24.387" v="7945"/>
          <ac:spMkLst>
            <pc:docMk/>
            <pc:sldMk cId="1548672113" sldId="262"/>
            <ac:spMk id="203" creationId="{22F496A5-B055-29BA-747A-71C2E035BAA1}"/>
          </ac:spMkLst>
        </pc:spChg>
        <pc:spChg chg="add mod ord">
          <ac:chgData name="PJ Grant" userId="21cab94c-7745-4db5-aa88-56cdc0183ba7" providerId="ADAL" clId="{C8CD02E3-132B-40F3-B6A0-926652F128C7}" dt="2024-12-01T00:01:04.822" v="35133"/>
          <ac:spMkLst>
            <pc:docMk/>
            <pc:sldMk cId="1548672113" sldId="262"/>
            <ac:spMk id="205" creationId="{1C4D6186-C78D-26BF-EC5E-9D8598ED7862}"/>
          </ac:spMkLst>
        </pc:spChg>
        <pc:spChg chg="add del mod modVis">
          <ac:chgData name="PJ Grant" userId="21cab94c-7745-4db5-aa88-56cdc0183ba7" providerId="ADAL" clId="{C8CD02E3-132B-40F3-B6A0-926652F128C7}" dt="2024-11-30T22:16:37.026" v="8119"/>
          <ac:spMkLst>
            <pc:docMk/>
            <pc:sldMk cId="1548672113" sldId="262"/>
            <ac:spMk id="207" creationId="{356420F6-84E3-D9AB-5C27-7DF79BF45C7B}"/>
          </ac:spMkLst>
        </pc:spChg>
        <pc:spChg chg="add del mod modVis">
          <ac:chgData name="PJ Grant" userId="21cab94c-7745-4db5-aa88-56cdc0183ba7" providerId="ADAL" clId="{C8CD02E3-132B-40F3-B6A0-926652F128C7}" dt="2024-11-30T22:16:44.194" v="8259"/>
          <ac:spMkLst>
            <pc:docMk/>
            <pc:sldMk cId="1548672113" sldId="262"/>
            <ac:spMk id="208" creationId="{14B7D40D-4C7D-953B-0B72-33973D4F3AA8}"/>
          </ac:spMkLst>
        </pc:spChg>
        <pc:spChg chg="add del mod modVis">
          <ac:chgData name="PJ Grant" userId="21cab94c-7745-4db5-aa88-56cdc0183ba7" providerId="ADAL" clId="{C8CD02E3-132B-40F3-B6A0-926652F128C7}" dt="2024-11-30T22:17:17.825" v="8756"/>
          <ac:spMkLst>
            <pc:docMk/>
            <pc:sldMk cId="1548672113" sldId="262"/>
            <ac:spMk id="210" creationId="{C28B727B-759A-65E3-946A-A10BECDF38BB}"/>
          </ac:spMkLst>
        </pc:spChg>
        <pc:spChg chg="add del mod">
          <ac:chgData name="PJ Grant" userId="21cab94c-7745-4db5-aa88-56cdc0183ba7" providerId="ADAL" clId="{C8CD02E3-132B-40F3-B6A0-926652F128C7}" dt="2024-11-30T22:17:32.614" v="9026"/>
          <ac:spMkLst>
            <pc:docMk/>
            <pc:sldMk cId="1548672113" sldId="262"/>
            <ac:spMk id="211" creationId="{F880280E-B7CC-85EB-FA5F-4DC0BF216E1E}"/>
          </ac:spMkLst>
        </pc:spChg>
        <pc:spChg chg="add del mod">
          <ac:chgData name="PJ Grant" userId="21cab94c-7745-4db5-aa88-56cdc0183ba7" providerId="ADAL" clId="{C8CD02E3-132B-40F3-B6A0-926652F128C7}" dt="2024-11-30T22:17:22.617" v="8916"/>
          <ac:spMkLst>
            <pc:docMk/>
            <pc:sldMk cId="1548672113" sldId="262"/>
            <ac:spMk id="212" creationId="{9081A539-EDFD-1D6D-334A-E24CE947A518}"/>
          </ac:spMkLst>
        </pc:spChg>
        <pc:spChg chg="add del mod">
          <ac:chgData name="PJ Grant" userId="21cab94c-7745-4db5-aa88-56cdc0183ba7" providerId="ADAL" clId="{C8CD02E3-132B-40F3-B6A0-926652F128C7}" dt="2024-11-30T22:17:19.674" v="8802"/>
          <ac:spMkLst>
            <pc:docMk/>
            <pc:sldMk cId="1548672113" sldId="262"/>
            <ac:spMk id="213" creationId="{2465CBBA-E993-C101-F340-7A87FFD23FB3}"/>
          </ac:spMkLst>
        </pc:spChg>
        <pc:spChg chg="add del mod">
          <ac:chgData name="PJ Grant" userId="21cab94c-7745-4db5-aa88-56cdc0183ba7" providerId="ADAL" clId="{C8CD02E3-132B-40F3-B6A0-926652F128C7}" dt="2024-11-30T22:17:36.293" v="9134"/>
          <ac:spMkLst>
            <pc:docMk/>
            <pc:sldMk cId="1548672113" sldId="262"/>
            <ac:spMk id="214" creationId="{54CC0388-F2EA-C814-9AAB-47A420A9D2AC}"/>
          </ac:spMkLst>
        </pc:spChg>
        <pc:spChg chg="add del mod">
          <ac:chgData name="PJ Grant" userId="21cab94c-7745-4db5-aa88-56cdc0183ba7" providerId="ADAL" clId="{C8CD02E3-132B-40F3-B6A0-926652F128C7}" dt="2024-11-30T22:17:39.261" v="9240"/>
          <ac:spMkLst>
            <pc:docMk/>
            <pc:sldMk cId="1548672113" sldId="262"/>
            <ac:spMk id="215" creationId="{53AEF95F-909C-7E68-9004-576F6D2EDF63}"/>
          </ac:spMkLst>
        </pc:spChg>
        <pc:spChg chg="add del mod">
          <ac:chgData name="PJ Grant" userId="21cab94c-7745-4db5-aa88-56cdc0183ba7" providerId="ADAL" clId="{C8CD02E3-132B-40F3-B6A0-926652F128C7}" dt="2024-11-30T22:17:43.861" v="9390"/>
          <ac:spMkLst>
            <pc:docMk/>
            <pc:sldMk cId="1548672113" sldId="262"/>
            <ac:spMk id="216" creationId="{F1AAC913-AEFF-61EB-3AC8-B5B936483041}"/>
          </ac:spMkLst>
        </pc:spChg>
        <pc:spChg chg="add del mod">
          <ac:chgData name="PJ Grant" userId="21cab94c-7745-4db5-aa88-56cdc0183ba7" providerId="ADAL" clId="{C8CD02E3-132B-40F3-B6A0-926652F128C7}" dt="2024-11-30T22:17:46.692" v="9494"/>
          <ac:spMkLst>
            <pc:docMk/>
            <pc:sldMk cId="1548672113" sldId="262"/>
            <ac:spMk id="217" creationId="{848C3020-5F29-88E1-3E42-17E8125BBA25}"/>
          </ac:spMkLst>
        </pc:spChg>
        <pc:spChg chg="add del mod modVis">
          <ac:chgData name="PJ Grant" userId="21cab94c-7745-4db5-aa88-56cdc0183ba7" providerId="ADAL" clId="{C8CD02E3-132B-40F3-B6A0-926652F128C7}" dt="2024-11-30T22:17:19.802" v="8871"/>
          <ac:spMkLst>
            <pc:docMk/>
            <pc:sldMk cId="1548672113" sldId="262"/>
            <ac:spMk id="219" creationId="{12C59473-060B-B9B8-FDA8-C9DC5B5C9266}"/>
          </ac:spMkLst>
        </pc:spChg>
        <pc:spChg chg="add del mod modVis">
          <ac:chgData name="PJ Grant" userId="21cab94c-7745-4db5-aa88-56cdc0183ba7" providerId="ADAL" clId="{C8CD02E3-132B-40F3-B6A0-926652F128C7}" dt="2024-11-30T22:17:22.726" v="8982"/>
          <ac:spMkLst>
            <pc:docMk/>
            <pc:sldMk cId="1548672113" sldId="262"/>
            <ac:spMk id="221" creationId="{E52C1CA9-4117-C989-D93A-D92219D5D5AB}"/>
          </ac:spMkLst>
        </pc:spChg>
        <pc:spChg chg="add del mod modVis">
          <ac:chgData name="PJ Grant" userId="21cab94c-7745-4db5-aa88-56cdc0183ba7" providerId="ADAL" clId="{C8CD02E3-132B-40F3-B6A0-926652F128C7}" dt="2024-11-30T22:17:32.768" v="9091"/>
          <ac:spMkLst>
            <pc:docMk/>
            <pc:sldMk cId="1548672113" sldId="262"/>
            <ac:spMk id="223" creationId="{963F2843-79F2-F37A-920D-298E33A9BE3F}"/>
          </ac:spMkLst>
        </pc:spChg>
        <pc:spChg chg="add del mod modVis">
          <ac:chgData name="PJ Grant" userId="21cab94c-7745-4db5-aa88-56cdc0183ba7" providerId="ADAL" clId="{C8CD02E3-132B-40F3-B6A0-926652F128C7}" dt="2024-11-30T22:17:36.417" v="9198"/>
          <ac:spMkLst>
            <pc:docMk/>
            <pc:sldMk cId="1548672113" sldId="262"/>
            <ac:spMk id="225" creationId="{56139FB5-E05D-3881-5648-EDE39A7751C0}"/>
          </ac:spMkLst>
        </pc:spChg>
        <pc:spChg chg="add del mod modVis">
          <ac:chgData name="PJ Grant" userId="21cab94c-7745-4db5-aa88-56cdc0183ba7" providerId="ADAL" clId="{C8CD02E3-132B-40F3-B6A0-926652F128C7}" dt="2024-11-30T22:17:39.399" v="9303"/>
          <ac:spMkLst>
            <pc:docMk/>
            <pc:sldMk cId="1548672113" sldId="262"/>
            <ac:spMk id="227" creationId="{520D3F7E-E3B1-4A9D-383B-9A51F0AD0F88}"/>
          </ac:spMkLst>
        </pc:spChg>
        <pc:spChg chg="add del mod modVis">
          <ac:chgData name="PJ Grant" userId="21cab94c-7745-4db5-aa88-56cdc0183ba7" providerId="ADAL" clId="{C8CD02E3-132B-40F3-B6A0-926652F128C7}" dt="2024-11-30T22:17:43.973" v="9453"/>
          <ac:spMkLst>
            <pc:docMk/>
            <pc:sldMk cId="1548672113" sldId="262"/>
            <ac:spMk id="229" creationId="{100DF8A1-9C48-97F0-BBD9-DB28E1BBF68D}"/>
          </ac:spMkLst>
        </pc:spChg>
        <pc:spChg chg="add mod">
          <ac:chgData name="PJ Grant" userId="21cab94c-7745-4db5-aa88-56cdc0183ba7" providerId="ADAL" clId="{C8CD02E3-132B-40F3-B6A0-926652F128C7}" dt="2024-12-01T00:01:04.826" v="35142"/>
          <ac:spMkLst>
            <pc:docMk/>
            <pc:sldMk cId="1548672113" sldId="262"/>
            <ac:spMk id="230" creationId="{A80E509F-B0A2-1F81-6911-F1BCE8869746}"/>
          </ac:spMkLst>
        </pc:spChg>
        <pc:spChg chg="add del mod modVis">
          <ac:chgData name="PJ Grant" userId="21cab94c-7745-4db5-aa88-56cdc0183ba7" providerId="ADAL" clId="{C8CD02E3-132B-40F3-B6A0-926652F128C7}" dt="2024-11-30T22:17:46.829" v="9556"/>
          <ac:spMkLst>
            <pc:docMk/>
            <pc:sldMk cId="1548672113" sldId="262"/>
            <ac:spMk id="232" creationId="{D6DD3FB9-B418-A676-2074-351347D0246A}"/>
          </ac:spMkLst>
        </pc:spChg>
        <pc:spChg chg="add del mod">
          <ac:chgData name="PJ Grant" userId="21cab94c-7745-4db5-aa88-56cdc0183ba7" providerId="ADAL" clId="{C8CD02E3-132B-40F3-B6A0-926652F128C7}" dt="2024-11-30T22:17:49.304" v="9702"/>
          <ac:spMkLst>
            <pc:docMk/>
            <pc:sldMk cId="1548672113" sldId="262"/>
            <ac:spMk id="234" creationId="{B8878CDE-AFB5-8A85-D18D-AD62D9F1787F}"/>
          </ac:spMkLst>
        </pc:spChg>
        <pc:spChg chg="add del mod modVis">
          <ac:chgData name="PJ Grant" userId="21cab94c-7745-4db5-aa88-56cdc0183ba7" providerId="ADAL" clId="{C8CD02E3-132B-40F3-B6A0-926652F128C7}" dt="2024-11-30T22:17:48.393" v="9690"/>
          <ac:spMkLst>
            <pc:docMk/>
            <pc:sldMk cId="1548672113" sldId="262"/>
            <ac:spMk id="235" creationId="{85A49C10-0E0B-AB79-A143-8A20E986998B}"/>
          </ac:spMkLst>
        </pc:spChg>
        <pc:spChg chg="add del mod modVis">
          <ac:chgData name="PJ Grant" userId="21cab94c-7745-4db5-aa88-56cdc0183ba7" providerId="ADAL" clId="{C8CD02E3-132B-40F3-B6A0-926652F128C7}" dt="2024-11-30T22:17:51.458" v="10209"/>
          <ac:spMkLst>
            <pc:docMk/>
            <pc:sldMk cId="1548672113" sldId="262"/>
            <ac:spMk id="238" creationId="{CC66B44F-D1D5-FF23-0683-18036E8BDAC4}"/>
          </ac:spMkLst>
        </pc:spChg>
        <pc:spChg chg="add mod">
          <ac:chgData name="PJ Grant" userId="21cab94c-7745-4db5-aa88-56cdc0183ba7" providerId="ADAL" clId="{C8CD02E3-132B-40F3-B6A0-926652F128C7}" dt="2024-12-01T00:01:04.826" v="35143"/>
          <ac:spMkLst>
            <pc:docMk/>
            <pc:sldMk cId="1548672113" sldId="262"/>
            <ac:spMk id="239" creationId="{102536FE-B144-B7B0-D718-FC26165F5775}"/>
          </ac:spMkLst>
        </pc:spChg>
        <pc:spChg chg="add mod">
          <ac:chgData name="PJ Grant" userId="21cab94c-7745-4db5-aa88-56cdc0183ba7" providerId="ADAL" clId="{C8CD02E3-132B-40F3-B6A0-926652F128C7}" dt="2024-12-01T00:01:04.826" v="35144"/>
          <ac:spMkLst>
            <pc:docMk/>
            <pc:sldMk cId="1548672113" sldId="262"/>
            <ac:spMk id="240" creationId="{6842D33F-C2D4-CD82-F342-ACC46329DD58}"/>
          </ac:spMkLst>
        </pc:spChg>
        <pc:spChg chg="add mod">
          <ac:chgData name="PJ Grant" userId="21cab94c-7745-4db5-aa88-56cdc0183ba7" providerId="ADAL" clId="{C8CD02E3-132B-40F3-B6A0-926652F128C7}" dt="2024-12-01T00:01:04.826" v="35145"/>
          <ac:spMkLst>
            <pc:docMk/>
            <pc:sldMk cId="1548672113" sldId="262"/>
            <ac:spMk id="241" creationId="{3A636C8B-C469-BA7F-3A2C-173D1B4FDB1F}"/>
          </ac:spMkLst>
        </pc:spChg>
        <pc:spChg chg="add mod">
          <ac:chgData name="PJ Grant" userId="21cab94c-7745-4db5-aa88-56cdc0183ba7" providerId="ADAL" clId="{C8CD02E3-132B-40F3-B6A0-926652F128C7}" dt="2024-12-01T00:01:04.826" v="35146"/>
          <ac:spMkLst>
            <pc:docMk/>
            <pc:sldMk cId="1548672113" sldId="262"/>
            <ac:spMk id="242" creationId="{972F1B68-C3DF-044D-AFB7-437EAAA59327}"/>
          </ac:spMkLst>
        </pc:spChg>
        <pc:spChg chg="add mod">
          <ac:chgData name="PJ Grant" userId="21cab94c-7745-4db5-aa88-56cdc0183ba7" providerId="ADAL" clId="{C8CD02E3-132B-40F3-B6A0-926652F128C7}" dt="2024-12-01T00:01:04.827" v="35147"/>
          <ac:spMkLst>
            <pc:docMk/>
            <pc:sldMk cId="1548672113" sldId="262"/>
            <ac:spMk id="243" creationId="{6D544A9E-03C2-E76C-1129-C92B8426B500}"/>
          </ac:spMkLst>
        </pc:spChg>
        <pc:spChg chg="add mod">
          <ac:chgData name="PJ Grant" userId="21cab94c-7745-4db5-aa88-56cdc0183ba7" providerId="ADAL" clId="{C8CD02E3-132B-40F3-B6A0-926652F128C7}" dt="2024-12-01T00:01:04.827" v="35148"/>
          <ac:spMkLst>
            <pc:docMk/>
            <pc:sldMk cId="1548672113" sldId="262"/>
            <ac:spMk id="244" creationId="{25910B48-6B5D-1B95-4BF1-1B0CA1D7D1A6}"/>
          </ac:spMkLst>
        </pc:spChg>
        <pc:spChg chg="add mod">
          <ac:chgData name="PJ Grant" userId="21cab94c-7745-4db5-aa88-56cdc0183ba7" providerId="ADAL" clId="{C8CD02E3-132B-40F3-B6A0-926652F128C7}" dt="2024-12-01T00:01:04.827" v="35149"/>
          <ac:spMkLst>
            <pc:docMk/>
            <pc:sldMk cId="1548672113" sldId="262"/>
            <ac:spMk id="245" creationId="{4D6FEB52-5DA0-921C-1A8E-D007B3AC0654}"/>
          </ac:spMkLst>
        </pc:spChg>
        <pc:spChg chg="add mod ord">
          <ac:chgData name="PJ Grant" userId="21cab94c-7745-4db5-aa88-56cdc0183ba7" providerId="ADAL" clId="{C8CD02E3-132B-40F3-B6A0-926652F128C7}" dt="2024-12-01T00:01:04.830" v="35159"/>
          <ac:spMkLst>
            <pc:docMk/>
            <pc:sldMk cId="1548672113" sldId="262"/>
            <ac:spMk id="247" creationId="{799912D5-2EFF-BC60-8CCA-F4214179BF0D}"/>
          </ac:spMkLst>
        </pc:spChg>
        <pc:spChg chg="add mod ord">
          <ac:chgData name="PJ Grant" userId="21cab94c-7745-4db5-aa88-56cdc0183ba7" providerId="ADAL" clId="{C8CD02E3-132B-40F3-B6A0-926652F128C7}" dt="2024-12-01T00:01:04.831" v="35161"/>
          <ac:spMkLst>
            <pc:docMk/>
            <pc:sldMk cId="1548672113" sldId="262"/>
            <ac:spMk id="248" creationId="{DBCE5770-2A36-B900-4B3E-E8FDF5CA2189}"/>
          </ac:spMkLst>
        </pc:spChg>
        <pc:spChg chg="add del mod">
          <ac:chgData name="PJ Grant" userId="21cab94c-7745-4db5-aa88-56cdc0183ba7" providerId="ADAL" clId="{C8CD02E3-132B-40F3-B6A0-926652F128C7}" dt="2024-11-30T23:06:51.271" v="26175"/>
          <ac:spMkLst>
            <pc:docMk/>
            <pc:sldMk cId="1548672113" sldId="262"/>
            <ac:spMk id="256" creationId="{DB3ABA57-D110-18E5-BECB-FC414392C12D}"/>
          </ac:spMkLst>
        </pc:spChg>
        <pc:spChg chg="add del mod modVis">
          <ac:chgData name="PJ Grant" userId="21cab94c-7745-4db5-aa88-56cdc0183ba7" providerId="ADAL" clId="{C8CD02E3-132B-40F3-B6A0-926652F128C7}" dt="2024-11-30T23:06:21.071" v="24769"/>
          <ac:spMkLst>
            <pc:docMk/>
            <pc:sldMk cId="1548672113" sldId="262"/>
            <ac:spMk id="257" creationId="{82C5BBC0-6A34-0AAB-4A27-43583F1A7DDC}"/>
          </ac:spMkLst>
        </pc:spChg>
        <pc:spChg chg="add del mod">
          <ac:chgData name="PJ Grant" userId="21cab94c-7745-4db5-aa88-56cdc0183ba7" providerId="ADAL" clId="{C8CD02E3-132B-40F3-B6A0-926652F128C7}" dt="2024-11-30T23:06:51.270" v="26173"/>
          <ac:spMkLst>
            <pc:docMk/>
            <pc:sldMk cId="1548672113" sldId="262"/>
            <ac:spMk id="258" creationId="{673F90C9-90F0-874B-129B-AF06B4F29EA1}"/>
          </ac:spMkLst>
        </pc:spChg>
        <pc:spChg chg="add del mod">
          <ac:chgData name="PJ Grant" userId="21cab94c-7745-4db5-aa88-56cdc0183ba7" providerId="ADAL" clId="{C8CD02E3-132B-40F3-B6A0-926652F128C7}" dt="2024-11-30T23:06:51.270" v="26171"/>
          <ac:spMkLst>
            <pc:docMk/>
            <pc:sldMk cId="1548672113" sldId="262"/>
            <ac:spMk id="259" creationId="{FAD9603D-0A56-DA10-0EF9-F8182874E40A}"/>
          </ac:spMkLst>
        </pc:spChg>
        <pc:spChg chg="add del mod">
          <ac:chgData name="PJ Grant" userId="21cab94c-7745-4db5-aa88-56cdc0183ba7" providerId="ADAL" clId="{C8CD02E3-132B-40F3-B6A0-926652F128C7}" dt="2024-11-30T23:06:51.269" v="26168"/>
          <ac:spMkLst>
            <pc:docMk/>
            <pc:sldMk cId="1548672113" sldId="262"/>
            <ac:spMk id="260" creationId="{C13AB721-D832-680A-E130-1682B43A75F5}"/>
          </ac:spMkLst>
        </pc:spChg>
        <pc:spChg chg="add del mod">
          <ac:chgData name="PJ Grant" userId="21cab94c-7745-4db5-aa88-56cdc0183ba7" providerId="ADAL" clId="{C8CD02E3-132B-40F3-B6A0-926652F128C7}" dt="2024-11-30T23:06:51.271" v="26174"/>
          <ac:spMkLst>
            <pc:docMk/>
            <pc:sldMk cId="1548672113" sldId="262"/>
            <ac:spMk id="262" creationId="{F844D64B-585C-0BD7-9768-9977A16E9006}"/>
          </ac:spMkLst>
        </pc:spChg>
        <pc:spChg chg="add del mod ord">
          <ac:chgData name="PJ Grant" userId="21cab94c-7745-4db5-aa88-56cdc0183ba7" providerId="ADAL" clId="{C8CD02E3-132B-40F3-B6A0-926652F128C7}" dt="2024-11-30T23:06:51.270" v="26172"/>
          <ac:spMkLst>
            <pc:docMk/>
            <pc:sldMk cId="1548672113" sldId="262"/>
            <ac:spMk id="263" creationId="{58E64FBB-4A78-F31C-D6E0-460954DA630F}"/>
          </ac:spMkLst>
        </pc:spChg>
        <pc:spChg chg="add del mod ord">
          <ac:chgData name="PJ Grant" userId="21cab94c-7745-4db5-aa88-56cdc0183ba7" providerId="ADAL" clId="{C8CD02E3-132B-40F3-B6A0-926652F128C7}" dt="2024-11-30T23:06:51.270" v="26170"/>
          <ac:spMkLst>
            <pc:docMk/>
            <pc:sldMk cId="1548672113" sldId="262"/>
            <ac:spMk id="264" creationId="{7468ACB8-5AE9-1214-D616-D55A428C0152}"/>
          </ac:spMkLst>
        </pc:spChg>
        <pc:spChg chg="add del mod ord">
          <ac:chgData name="PJ Grant" userId="21cab94c-7745-4db5-aa88-56cdc0183ba7" providerId="ADAL" clId="{C8CD02E3-132B-40F3-B6A0-926652F128C7}" dt="2024-11-30T23:06:51.268" v="26167"/>
          <ac:spMkLst>
            <pc:docMk/>
            <pc:sldMk cId="1548672113" sldId="262"/>
            <ac:spMk id="265" creationId="{02B0DF18-A97F-5226-C6A5-0F43099A26E9}"/>
          </ac:spMkLst>
        </pc:spChg>
        <pc:spChg chg="add del mod modVis">
          <ac:chgData name="PJ Grant" userId="21cab94c-7745-4db5-aa88-56cdc0183ba7" providerId="ADAL" clId="{C8CD02E3-132B-40F3-B6A0-926652F128C7}" dt="2024-11-30T23:56:02.866" v="33195"/>
          <ac:spMkLst>
            <pc:docMk/>
            <pc:sldMk cId="1548672113" sldId="262"/>
            <ac:spMk id="279" creationId="{6234D9E6-D893-C9C9-123E-9A11B0D7F3C9}"/>
          </ac:spMkLst>
        </pc:spChg>
        <pc:spChg chg="add del mod modVis">
          <ac:chgData name="PJ Grant" userId="21cab94c-7745-4db5-aa88-56cdc0183ba7" providerId="ADAL" clId="{C8CD02E3-132B-40F3-B6A0-926652F128C7}" dt="2024-11-30T23:56:09.248" v="33267"/>
          <ac:spMkLst>
            <pc:docMk/>
            <pc:sldMk cId="1548672113" sldId="262"/>
            <ac:spMk id="280" creationId="{720B07AE-0E55-21E4-C578-EE696BBC5D60}"/>
          </ac:spMkLst>
        </pc:spChg>
        <pc:spChg chg="add del mod modVis">
          <ac:chgData name="PJ Grant" userId="21cab94c-7745-4db5-aa88-56cdc0183ba7" providerId="ADAL" clId="{C8CD02E3-132B-40F3-B6A0-926652F128C7}" dt="2024-11-30T23:56:14.468" v="33344"/>
          <ac:spMkLst>
            <pc:docMk/>
            <pc:sldMk cId="1548672113" sldId="262"/>
            <ac:spMk id="281" creationId="{277039EA-91BF-F654-6E9C-724476C64181}"/>
          </ac:spMkLst>
        </pc:spChg>
        <pc:spChg chg="add del mod modVis">
          <ac:chgData name="PJ Grant" userId="21cab94c-7745-4db5-aa88-56cdc0183ba7" providerId="ADAL" clId="{C8CD02E3-132B-40F3-B6A0-926652F128C7}" dt="2024-11-30T23:56:16.024" v="33384"/>
          <ac:spMkLst>
            <pc:docMk/>
            <pc:sldMk cId="1548672113" sldId="262"/>
            <ac:spMk id="282" creationId="{D0D2F078-FDB0-F57C-DCFA-9AA62439B5D9}"/>
          </ac:spMkLst>
        </pc:spChg>
        <pc:spChg chg="add del mod modVis">
          <ac:chgData name="PJ Grant" userId="21cab94c-7745-4db5-aa88-56cdc0183ba7" providerId="ADAL" clId="{C8CD02E3-132B-40F3-B6A0-926652F128C7}" dt="2024-11-30T23:56:16.852" v="33416"/>
          <ac:spMkLst>
            <pc:docMk/>
            <pc:sldMk cId="1548672113" sldId="262"/>
            <ac:spMk id="283" creationId="{47D7596E-8300-B307-E919-3481F9705562}"/>
          </ac:spMkLst>
        </pc:spChg>
        <pc:spChg chg="add del mod modVis">
          <ac:chgData name="PJ Grant" userId="21cab94c-7745-4db5-aa88-56cdc0183ba7" providerId="ADAL" clId="{C8CD02E3-132B-40F3-B6A0-926652F128C7}" dt="2024-11-30T23:56:19.892" v="33466"/>
          <ac:spMkLst>
            <pc:docMk/>
            <pc:sldMk cId="1548672113" sldId="262"/>
            <ac:spMk id="284" creationId="{EC051D28-1657-FC5C-899B-DA1A6AFA5AA6}"/>
          </ac:spMkLst>
        </pc:spChg>
        <pc:spChg chg="add del mod modVis">
          <ac:chgData name="PJ Grant" userId="21cab94c-7745-4db5-aa88-56cdc0183ba7" providerId="ADAL" clId="{C8CD02E3-132B-40F3-B6A0-926652F128C7}" dt="2024-11-30T23:56:23.451" v="33516"/>
          <ac:spMkLst>
            <pc:docMk/>
            <pc:sldMk cId="1548672113" sldId="262"/>
            <ac:spMk id="285" creationId="{F662FD07-047E-1EA3-A19C-8FE23B30841A}"/>
          </ac:spMkLst>
        </pc:spChg>
        <pc:spChg chg="add del mod modVis">
          <ac:chgData name="PJ Grant" userId="21cab94c-7745-4db5-aa88-56cdc0183ba7" providerId="ADAL" clId="{C8CD02E3-132B-40F3-B6A0-926652F128C7}" dt="2024-11-30T23:56:25.277" v="33559"/>
          <ac:spMkLst>
            <pc:docMk/>
            <pc:sldMk cId="1548672113" sldId="262"/>
            <ac:spMk id="286" creationId="{F49EFB50-E94E-B3F7-94D4-CAA17FE15AE6}"/>
          </ac:spMkLst>
        </pc:spChg>
        <pc:spChg chg="add del mod modVis">
          <ac:chgData name="PJ Grant" userId="21cab94c-7745-4db5-aa88-56cdc0183ba7" providerId="ADAL" clId="{C8CD02E3-132B-40F3-B6A0-926652F128C7}" dt="2024-11-30T23:56:35.269" v="33595"/>
          <ac:spMkLst>
            <pc:docMk/>
            <pc:sldMk cId="1548672113" sldId="262"/>
            <ac:spMk id="287" creationId="{FB944D3F-8090-0FF0-E557-8BF274AB79FC}"/>
          </ac:spMkLst>
        </pc:spChg>
        <pc:spChg chg="add del mod modVis">
          <ac:chgData name="PJ Grant" userId="21cab94c-7745-4db5-aa88-56cdc0183ba7" providerId="ADAL" clId="{C8CD02E3-132B-40F3-B6A0-926652F128C7}" dt="2024-11-30T23:56:38.188" v="33638"/>
          <ac:spMkLst>
            <pc:docMk/>
            <pc:sldMk cId="1548672113" sldId="262"/>
            <ac:spMk id="288" creationId="{C58F353F-8819-BE20-CF94-A02E3A701BBA}"/>
          </ac:spMkLst>
        </pc:spChg>
        <pc:spChg chg="add del mod modVis">
          <ac:chgData name="PJ Grant" userId="21cab94c-7745-4db5-aa88-56cdc0183ba7" providerId="ADAL" clId="{C8CD02E3-132B-40F3-B6A0-926652F128C7}" dt="2024-11-30T23:56:39.634" v="33678"/>
          <ac:spMkLst>
            <pc:docMk/>
            <pc:sldMk cId="1548672113" sldId="262"/>
            <ac:spMk id="289" creationId="{39573560-FFD3-6954-5C97-FD23DF202BF6}"/>
          </ac:spMkLst>
        </pc:spChg>
        <pc:spChg chg="add del mod modVis">
          <ac:chgData name="PJ Grant" userId="21cab94c-7745-4db5-aa88-56cdc0183ba7" providerId="ADAL" clId="{C8CD02E3-132B-40F3-B6A0-926652F128C7}" dt="2024-11-30T23:56:40.444" v="33711"/>
          <ac:spMkLst>
            <pc:docMk/>
            <pc:sldMk cId="1548672113" sldId="262"/>
            <ac:spMk id="290" creationId="{6FFB27C5-EFF2-69A2-58DE-8BFE3DC5F54D}"/>
          </ac:spMkLst>
        </pc:spChg>
        <pc:spChg chg="add del mod modVis">
          <ac:chgData name="PJ Grant" userId="21cab94c-7745-4db5-aa88-56cdc0183ba7" providerId="ADAL" clId="{C8CD02E3-132B-40F3-B6A0-926652F128C7}" dt="2024-11-30T23:56:48.826" v="33754"/>
          <ac:spMkLst>
            <pc:docMk/>
            <pc:sldMk cId="1548672113" sldId="262"/>
            <ac:spMk id="291" creationId="{44B11961-5126-C111-DD81-7F7BAD3EED9C}"/>
          </ac:spMkLst>
        </pc:spChg>
        <pc:spChg chg="add del mod modVis">
          <ac:chgData name="PJ Grant" userId="21cab94c-7745-4db5-aa88-56cdc0183ba7" providerId="ADAL" clId="{C8CD02E3-132B-40F3-B6A0-926652F128C7}" dt="2024-11-30T23:56:49.847" v="33786"/>
          <ac:spMkLst>
            <pc:docMk/>
            <pc:sldMk cId="1548672113" sldId="262"/>
            <ac:spMk id="292" creationId="{3DFE5F92-84F4-C850-D1D1-3CDA09F1BD9B}"/>
          </ac:spMkLst>
        </pc:spChg>
        <pc:spChg chg="add mod">
          <ac:chgData name="PJ Grant" userId="21cab94c-7745-4db5-aa88-56cdc0183ba7" providerId="ADAL" clId="{C8CD02E3-132B-40F3-B6A0-926652F128C7}" dt="2024-12-01T00:01:19.567" v="35174" actId="1076"/>
          <ac:spMkLst>
            <pc:docMk/>
            <pc:sldMk cId="1548672113" sldId="262"/>
            <ac:spMk id="307" creationId="{1DA08B57-BA2A-D4C2-58CF-9E49A79C79CC}"/>
          </ac:spMkLst>
        </pc:spChg>
        <pc:spChg chg="add del mod">
          <ac:chgData name="PJ Grant" userId="21cab94c-7745-4db5-aa88-56cdc0183ba7" providerId="ADAL" clId="{C8CD02E3-132B-40F3-B6A0-926652F128C7}" dt="2024-12-01T00:07:00.432" v="35232" actId="478"/>
          <ac:spMkLst>
            <pc:docMk/>
            <pc:sldMk cId="1548672113" sldId="262"/>
            <ac:spMk id="308" creationId="{CF7C9C33-2028-D7ED-633E-72A68AAF8CB9}"/>
          </ac:spMkLst>
        </pc:spChg>
        <pc:spChg chg="add mod">
          <ac:chgData name="PJ Grant" userId="21cab94c-7745-4db5-aa88-56cdc0183ba7" providerId="ADAL" clId="{C8CD02E3-132B-40F3-B6A0-926652F128C7}" dt="2024-12-01T00:06:50.412" v="35230" actId="164"/>
          <ac:spMkLst>
            <pc:docMk/>
            <pc:sldMk cId="1548672113" sldId="262"/>
            <ac:spMk id="309" creationId="{D7BEF650-C514-8BE0-5140-DC16484024B8}"/>
          </ac:spMkLst>
        </pc:spChg>
        <pc:spChg chg="add mod">
          <ac:chgData name="PJ Grant" userId="21cab94c-7745-4db5-aa88-56cdc0183ba7" providerId="ADAL" clId="{C8CD02E3-132B-40F3-B6A0-926652F128C7}" dt="2024-12-01T00:06:43.547" v="35227" actId="164"/>
          <ac:spMkLst>
            <pc:docMk/>
            <pc:sldMk cId="1548672113" sldId="262"/>
            <ac:spMk id="310" creationId="{08FE36BF-96B5-7FE8-1917-6FD8D63CFE7F}"/>
          </ac:spMkLst>
        </pc:spChg>
        <pc:spChg chg="add mod">
          <ac:chgData name="PJ Grant" userId="21cab94c-7745-4db5-aa88-56cdc0183ba7" providerId="ADAL" clId="{C8CD02E3-132B-40F3-B6A0-926652F128C7}" dt="2024-12-01T00:06:34.250" v="35224" actId="164"/>
          <ac:spMkLst>
            <pc:docMk/>
            <pc:sldMk cId="1548672113" sldId="262"/>
            <ac:spMk id="311" creationId="{B53801E3-1FF4-ECB0-B557-A97F5D695722}"/>
          </ac:spMkLst>
        </pc:spChg>
        <pc:spChg chg="add mod">
          <ac:chgData name="PJ Grant" userId="21cab94c-7745-4db5-aa88-56cdc0183ba7" providerId="ADAL" clId="{C8CD02E3-132B-40F3-B6A0-926652F128C7}" dt="2024-12-01T00:06:23.992" v="35221" actId="164"/>
          <ac:spMkLst>
            <pc:docMk/>
            <pc:sldMk cId="1548672113" sldId="262"/>
            <ac:spMk id="312" creationId="{D946A5AB-CF02-F54B-939D-AE0F343F8940}"/>
          </ac:spMkLst>
        </pc:spChg>
        <pc:spChg chg="add del mod">
          <ac:chgData name="PJ Grant" userId="21cab94c-7745-4db5-aa88-56cdc0183ba7" providerId="ADAL" clId="{C8CD02E3-132B-40F3-B6A0-926652F128C7}" dt="2024-12-01T00:01:43.630" v="35183" actId="478"/>
          <ac:spMkLst>
            <pc:docMk/>
            <pc:sldMk cId="1548672113" sldId="262"/>
            <ac:spMk id="313" creationId="{3937B6B3-A79A-C69E-15D3-95BC18DDD727}"/>
          </ac:spMkLst>
        </pc:spChg>
        <pc:spChg chg="add del mod">
          <ac:chgData name="PJ Grant" userId="21cab94c-7745-4db5-aa88-56cdc0183ba7" providerId="ADAL" clId="{C8CD02E3-132B-40F3-B6A0-926652F128C7}" dt="2024-12-01T00:01:43.630" v="35183" actId="478"/>
          <ac:spMkLst>
            <pc:docMk/>
            <pc:sldMk cId="1548672113" sldId="262"/>
            <ac:spMk id="314" creationId="{81285B4E-1EDB-F9DE-9566-D84CDF5C706E}"/>
          </ac:spMkLst>
        </pc:spChg>
        <pc:spChg chg="add del mod">
          <ac:chgData name="PJ Grant" userId="21cab94c-7745-4db5-aa88-56cdc0183ba7" providerId="ADAL" clId="{C8CD02E3-132B-40F3-B6A0-926652F128C7}" dt="2024-12-01T00:01:43.630" v="35183" actId="478"/>
          <ac:spMkLst>
            <pc:docMk/>
            <pc:sldMk cId="1548672113" sldId="262"/>
            <ac:spMk id="315" creationId="{91971A3D-585B-4F76-F3FF-75162E53A306}"/>
          </ac:spMkLst>
        </pc:spChg>
        <pc:spChg chg="add del mod">
          <ac:chgData name="PJ Grant" userId="21cab94c-7745-4db5-aa88-56cdc0183ba7" providerId="ADAL" clId="{C8CD02E3-132B-40F3-B6A0-926652F128C7}" dt="2024-12-01T00:01:43.630" v="35183" actId="478"/>
          <ac:spMkLst>
            <pc:docMk/>
            <pc:sldMk cId="1548672113" sldId="262"/>
            <ac:spMk id="316" creationId="{04ADC663-9843-E32D-6AB7-AC8723DA173B}"/>
          </ac:spMkLst>
        </pc:spChg>
        <pc:spChg chg="add mod">
          <ac:chgData name="PJ Grant" userId="21cab94c-7745-4db5-aa88-56cdc0183ba7" providerId="ADAL" clId="{C8CD02E3-132B-40F3-B6A0-926652F128C7}" dt="2024-12-01T00:06:23.992" v="35221" actId="164"/>
          <ac:spMkLst>
            <pc:docMk/>
            <pc:sldMk cId="1548672113" sldId="262"/>
            <ac:spMk id="317" creationId="{0B63FE24-F8C3-DD67-EBD7-F092B4544D17}"/>
          </ac:spMkLst>
        </pc:spChg>
        <pc:spChg chg="add mod">
          <ac:chgData name="PJ Grant" userId="21cab94c-7745-4db5-aa88-56cdc0183ba7" providerId="ADAL" clId="{C8CD02E3-132B-40F3-B6A0-926652F128C7}" dt="2024-12-01T00:06:34.250" v="35224" actId="164"/>
          <ac:spMkLst>
            <pc:docMk/>
            <pc:sldMk cId="1548672113" sldId="262"/>
            <ac:spMk id="318" creationId="{CF46F4E4-1492-D46F-9FAC-67F74C5B5754}"/>
          </ac:spMkLst>
        </pc:spChg>
        <pc:spChg chg="add mod">
          <ac:chgData name="PJ Grant" userId="21cab94c-7745-4db5-aa88-56cdc0183ba7" providerId="ADAL" clId="{C8CD02E3-132B-40F3-B6A0-926652F128C7}" dt="2024-12-01T00:06:43.547" v="35227" actId="164"/>
          <ac:spMkLst>
            <pc:docMk/>
            <pc:sldMk cId="1548672113" sldId="262"/>
            <ac:spMk id="319" creationId="{54F0E296-9047-EB59-8846-7744D5D23C34}"/>
          </ac:spMkLst>
        </pc:spChg>
        <pc:spChg chg="add mod">
          <ac:chgData name="PJ Grant" userId="21cab94c-7745-4db5-aa88-56cdc0183ba7" providerId="ADAL" clId="{C8CD02E3-132B-40F3-B6A0-926652F128C7}" dt="2024-12-01T00:06:56.280" v="35231" actId="207"/>
          <ac:spMkLst>
            <pc:docMk/>
            <pc:sldMk cId="1548672113" sldId="262"/>
            <ac:spMk id="320" creationId="{36F51DFF-62FE-9912-B2CA-A8E650B72505}"/>
          </ac:spMkLst>
        </pc:spChg>
        <pc:spChg chg="add mod">
          <ac:chgData name="PJ Grant" userId="21cab94c-7745-4db5-aa88-56cdc0183ba7" providerId="ADAL" clId="{C8CD02E3-132B-40F3-B6A0-926652F128C7}" dt="2024-12-01T00:07:04.780" v="35233" actId="571"/>
          <ac:spMkLst>
            <pc:docMk/>
            <pc:sldMk cId="1548672113" sldId="262"/>
            <ac:spMk id="325" creationId="{2D593ED2-706D-70A7-217A-A6DE93B57FB1}"/>
          </ac:spMkLst>
        </pc:spChg>
        <pc:spChg chg="mod">
          <ac:chgData name="PJ Grant" userId="21cab94c-7745-4db5-aa88-56cdc0183ba7" providerId="ADAL" clId="{C8CD02E3-132B-40F3-B6A0-926652F128C7}" dt="2024-12-01T00:07:04.780" v="35233" actId="571"/>
          <ac:spMkLst>
            <pc:docMk/>
            <pc:sldMk cId="1548672113" sldId="262"/>
            <ac:spMk id="327" creationId="{854FC777-F1F6-3B31-D0BB-8728F2044F33}"/>
          </ac:spMkLst>
        </pc:spChg>
        <pc:spChg chg="mod">
          <ac:chgData name="PJ Grant" userId="21cab94c-7745-4db5-aa88-56cdc0183ba7" providerId="ADAL" clId="{C8CD02E3-132B-40F3-B6A0-926652F128C7}" dt="2024-12-01T00:07:21.445" v="35235" actId="20577"/>
          <ac:spMkLst>
            <pc:docMk/>
            <pc:sldMk cId="1548672113" sldId="262"/>
            <ac:spMk id="328" creationId="{3012AEFC-81ED-C562-DDA4-A3BB77B23966}"/>
          </ac:spMkLst>
        </pc:spChg>
        <pc:spChg chg="mod">
          <ac:chgData name="PJ Grant" userId="21cab94c-7745-4db5-aa88-56cdc0183ba7" providerId="ADAL" clId="{C8CD02E3-132B-40F3-B6A0-926652F128C7}" dt="2024-12-01T00:07:04.780" v="35233" actId="571"/>
          <ac:spMkLst>
            <pc:docMk/>
            <pc:sldMk cId="1548672113" sldId="262"/>
            <ac:spMk id="330" creationId="{633FCAD9-FE49-169E-E856-F8740EC961B7}"/>
          </ac:spMkLst>
        </pc:spChg>
        <pc:spChg chg="mod">
          <ac:chgData name="PJ Grant" userId="21cab94c-7745-4db5-aa88-56cdc0183ba7" providerId="ADAL" clId="{C8CD02E3-132B-40F3-B6A0-926652F128C7}" dt="2024-12-01T00:07:29.169" v="35238" actId="20577"/>
          <ac:spMkLst>
            <pc:docMk/>
            <pc:sldMk cId="1548672113" sldId="262"/>
            <ac:spMk id="331" creationId="{6AF146C4-69A1-97E6-EC10-95617DC0763C}"/>
          </ac:spMkLst>
        </pc:spChg>
        <pc:spChg chg="mod">
          <ac:chgData name="PJ Grant" userId="21cab94c-7745-4db5-aa88-56cdc0183ba7" providerId="ADAL" clId="{C8CD02E3-132B-40F3-B6A0-926652F128C7}" dt="2024-12-01T00:07:04.780" v="35233" actId="571"/>
          <ac:spMkLst>
            <pc:docMk/>
            <pc:sldMk cId="1548672113" sldId="262"/>
            <ac:spMk id="333" creationId="{07359006-22ED-1DDD-4586-A6DCAB710D31}"/>
          </ac:spMkLst>
        </pc:spChg>
        <pc:spChg chg="mod">
          <ac:chgData name="PJ Grant" userId="21cab94c-7745-4db5-aa88-56cdc0183ba7" providerId="ADAL" clId="{C8CD02E3-132B-40F3-B6A0-926652F128C7}" dt="2024-12-01T00:07:35.359" v="35242" actId="20577"/>
          <ac:spMkLst>
            <pc:docMk/>
            <pc:sldMk cId="1548672113" sldId="262"/>
            <ac:spMk id="334" creationId="{E7B30CAE-BD59-F4E7-FEE8-E16FB7833B6C}"/>
          </ac:spMkLst>
        </pc:spChg>
        <pc:spChg chg="mod">
          <ac:chgData name="PJ Grant" userId="21cab94c-7745-4db5-aa88-56cdc0183ba7" providerId="ADAL" clId="{C8CD02E3-132B-40F3-B6A0-926652F128C7}" dt="2024-12-01T00:07:04.780" v="35233" actId="571"/>
          <ac:spMkLst>
            <pc:docMk/>
            <pc:sldMk cId="1548672113" sldId="262"/>
            <ac:spMk id="336" creationId="{22FD2032-713D-25E9-A5C7-ADBBA6AAD805}"/>
          </ac:spMkLst>
        </pc:spChg>
        <pc:spChg chg="mod">
          <ac:chgData name="PJ Grant" userId="21cab94c-7745-4db5-aa88-56cdc0183ba7" providerId="ADAL" clId="{C8CD02E3-132B-40F3-B6A0-926652F128C7}" dt="2024-12-01T00:07:44.659" v="35244" actId="20577"/>
          <ac:spMkLst>
            <pc:docMk/>
            <pc:sldMk cId="1548672113" sldId="262"/>
            <ac:spMk id="337" creationId="{5FC2C34C-A3F2-C201-E21B-8FA143C6E11A}"/>
          </ac:spMkLst>
        </pc:spChg>
        <pc:spChg chg="add del mod">
          <ac:chgData name="PJ Grant" userId="21cab94c-7745-4db5-aa88-56cdc0183ba7" providerId="ADAL" clId="{C8CD02E3-132B-40F3-B6A0-926652F128C7}" dt="2024-12-01T00:08:59.077" v="35280" actId="478"/>
          <ac:spMkLst>
            <pc:docMk/>
            <pc:sldMk cId="1548672113" sldId="262"/>
            <ac:spMk id="338" creationId="{1A6C86CF-61CC-F321-3BE7-19951C719A3D}"/>
          </ac:spMkLst>
        </pc:spChg>
        <pc:spChg chg="add del mod">
          <ac:chgData name="PJ Grant" userId="21cab94c-7745-4db5-aa88-56cdc0183ba7" providerId="ADAL" clId="{C8CD02E3-132B-40F3-B6A0-926652F128C7}" dt="2024-12-01T00:08:59.077" v="35280" actId="478"/>
          <ac:spMkLst>
            <pc:docMk/>
            <pc:sldMk cId="1548672113" sldId="262"/>
            <ac:spMk id="339" creationId="{E55F200F-4872-BAE9-4CBA-9EB5D43BE96C}"/>
          </ac:spMkLst>
        </pc:spChg>
        <pc:spChg chg="add mod">
          <ac:chgData name="PJ Grant" userId="21cab94c-7745-4db5-aa88-56cdc0183ba7" providerId="ADAL" clId="{C8CD02E3-132B-40F3-B6A0-926652F128C7}" dt="2024-12-01T00:16:17.660" v="35819" actId="1076"/>
          <ac:spMkLst>
            <pc:docMk/>
            <pc:sldMk cId="1548672113" sldId="262"/>
            <ac:spMk id="341" creationId="{97A2A409-832E-AC23-4BB7-7B21F4ADE6A1}"/>
          </ac:spMkLst>
        </pc:spChg>
        <pc:spChg chg="add del mod">
          <ac:chgData name="PJ Grant" userId="21cab94c-7745-4db5-aa88-56cdc0183ba7" providerId="ADAL" clId="{C8CD02E3-132B-40F3-B6A0-926652F128C7}" dt="2024-12-01T00:10:39.422" v="35328"/>
          <ac:spMkLst>
            <pc:docMk/>
            <pc:sldMk cId="1548672113" sldId="262"/>
            <ac:spMk id="342" creationId="{CC25C2BF-2FA9-1E4B-9015-F03834D5F248}"/>
          </ac:spMkLst>
        </pc:spChg>
        <pc:spChg chg="add mod">
          <ac:chgData name="PJ Grant" userId="21cab94c-7745-4db5-aa88-56cdc0183ba7" providerId="ADAL" clId="{C8CD02E3-132B-40F3-B6A0-926652F128C7}" dt="2024-12-01T00:16:19.128" v="35820" actId="1076"/>
          <ac:spMkLst>
            <pc:docMk/>
            <pc:sldMk cId="1548672113" sldId="262"/>
            <ac:spMk id="343" creationId="{35E21425-C605-007C-7227-3BEE64EFF7C1}"/>
          </ac:spMkLst>
        </pc:spChg>
        <pc:grpChg chg="add mod">
          <ac:chgData name="PJ Grant" userId="21cab94c-7745-4db5-aa88-56cdc0183ba7" providerId="ADAL" clId="{C8CD02E3-132B-40F3-B6A0-926652F128C7}" dt="2024-12-01T00:06:23.992" v="35221" actId="164"/>
          <ac:grpSpMkLst>
            <pc:docMk/>
            <pc:sldMk cId="1548672113" sldId="262"/>
            <ac:grpSpMk id="321" creationId="{F3BC2112-15F4-C494-6A15-31F3B44D9993}"/>
          </ac:grpSpMkLst>
        </pc:grpChg>
        <pc:grpChg chg="add mod">
          <ac:chgData name="PJ Grant" userId="21cab94c-7745-4db5-aa88-56cdc0183ba7" providerId="ADAL" clId="{C8CD02E3-132B-40F3-B6A0-926652F128C7}" dt="2024-12-01T00:06:34.250" v="35224" actId="164"/>
          <ac:grpSpMkLst>
            <pc:docMk/>
            <pc:sldMk cId="1548672113" sldId="262"/>
            <ac:grpSpMk id="322" creationId="{36CFFD23-9EEF-AB9D-5C24-480B0EC119AC}"/>
          </ac:grpSpMkLst>
        </pc:grpChg>
        <pc:grpChg chg="add mod">
          <ac:chgData name="PJ Grant" userId="21cab94c-7745-4db5-aa88-56cdc0183ba7" providerId="ADAL" clId="{C8CD02E3-132B-40F3-B6A0-926652F128C7}" dt="2024-12-01T00:06:43.547" v="35227" actId="164"/>
          <ac:grpSpMkLst>
            <pc:docMk/>
            <pc:sldMk cId="1548672113" sldId="262"/>
            <ac:grpSpMk id="323" creationId="{3857E3E9-C970-C809-4C08-8812FF43AB49}"/>
          </ac:grpSpMkLst>
        </pc:grpChg>
        <pc:grpChg chg="add mod">
          <ac:chgData name="PJ Grant" userId="21cab94c-7745-4db5-aa88-56cdc0183ba7" providerId="ADAL" clId="{C8CD02E3-132B-40F3-B6A0-926652F128C7}" dt="2024-12-01T00:06:50.412" v="35230" actId="164"/>
          <ac:grpSpMkLst>
            <pc:docMk/>
            <pc:sldMk cId="1548672113" sldId="262"/>
            <ac:grpSpMk id="324" creationId="{F98D1BEE-318E-5A0B-9647-89C20D7AAE28}"/>
          </ac:grpSpMkLst>
        </pc:grpChg>
        <pc:grpChg chg="add mod">
          <ac:chgData name="PJ Grant" userId="21cab94c-7745-4db5-aa88-56cdc0183ba7" providerId="ADAL" clId="{C8CD02E3-132B-40F3-B6A0-926652F128C7}" dt="2024-12-01T00:07:04.780" v="35233" actId="571"/>
          <ac:grpSpMkLst>
            <pc:docMk/>
            <pc:sldMk cId="1548672113" sldId="262"/>
            <ac:grpSpMk id="326" creationId="{CEC5DC52-253B-7658-B226-634D8789CD84}"/>
          </ac:grpSpMkLst>
        </pc:grpChg>
        <pc:grpChg chg="add mod">
          <ac:chgData name="PJ Grant" userId="21cab94c-7745-4db5-aa88-56cdc0183ba7" providerId="ADAL" clId="{C8CD02E3-132B-40F3-B6A0-926652F128C7}" dt="2024-12-01T00:07:27.383" v="35237" actId="1076"/>
          <ac:grpSpMkLst>
            <pc:docMk/>
            <pc:sldMk cId="1548672113" sldId="262"/>
            <ac:grpSpMk id="329" creationId="{B9AC21AF-7F6C-BDAB-4F55-93818B20A4BB}"/>
          </ac:grpSpMkLst>
        </pc:grpChg>
        <pc:grpChg chg="add mod">
          <ac:chgData name="PJ Grant" userId="21cab94c-7745-4db5-aa88-56cdc0183ba7" providerId="ADAL" clId="{C8CD02E3-132B-40F3-B6A0-926652F128C7}" dt="2024-12-01T00:07:33.452" v="35240" actId="1076"/>
          <ac:grpSpMkLst>
            <pc:docMk/>
            <pc:sldMk cId="1548672113" sldId="262"/>
            <ac:grpSpMk id="332" creationId="{63211C17-9193-6612-19BA-E0686892A67A}"/>
          </ac:grpSpMkLst>
        </pc:grpChg>
        <pc:grpChg chg="add mod">
          <ac:chgData name="PJ Grant" userId="21cab94c-7745-4db5-aa88-56cdc0183ba7" providerId="ADAL" clId="{C8CD02E3-132B-40F3-B6A0-926652F128C7}" dt="2024-12-01T00:07:04.780" v="35233" actId="571"/>
          <ac:grpSpMkLst>
            <pc:docMk/>
            <pc:sldMk cId="1548672113" sldId="262"/>
            <ac:grpSpMk id="335" creationId="{B4CEFFD6-CFA1-8AFB-9BBC-9DA251436686}"/>
          </ac:grpSpMkLst>
        </pc:grpChg>
        <pc:graphicFrameChg chg="mod">
          <ac:chgData name="PJ Grant" userId="21cab94c-7745-4db5-aa88-56cdc0183ba7" providerId="ADAL" clId="{C8CD02E3-132B-40F3-B6A0-926652F128C7}" dt="2024-12-01T00:01:04.831" v="35163"/>
          <ac:graphicFrameMkLst>
            <pc:docMk/>
            <pc:sldMk cId="1548672113" sldId="262"/>
            <ac:graphicFrameMk id="5" creationId="{ED8579B6-E1E7-1E40-7D14-9830658C8E9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4:36.621" v="1593"/>
          <ac:graphicFrameMkLst>
            <pc:docMk/>
            <pc:sldMk cId="1548672113" sldId="262"/>
            <ac:graphicFrameMk id="29" creationId="{C34B1537-49A1-EACB-3242-C56B855B225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4:38.239" v="1654"/>
          <ac:graphicFrameMkLst>
            <pc:docMk/>
            <pc:sldMk cId="1548672113" sldId="262"/>
            <ac:graphicFrameMk id="30" creationId="{A09A25D7-79BF-D9A4-C633-084F17A717C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4:53.504" v="2022"/>
          <ac:graphicFrameMkLst>
            <pc:docMk/>
            <pc:sldMk cId="1548672113" sldId="262"/>
            <ac:graphicFrameMk id="31" creationId="{BAF01F3A-71FB-24CF-A0FB-E6D36E4FDEAA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2:04:41.416" v="1900"/>
          <ac:graphicFrameMkLst>
            <pc:docMk/>
            <pc:sldMk cId="1548672113" sldId="262"/>
            <ac:graphicFrameMk id="32" creationId="{28A4C50B-5C55-1421-90E1-83CDCB9C72B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4:45.370" v="1954"/>
          <ac:graphicFrameMkLst>
            <pc:docMk/>
            <pc:sldMk cId="1548672113" sldId="262"/>
            <ac:graphicFrameMk id="43" creationId="{F524ED4C-ABED-D2B0-7AEA-43596595194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4:54.889" v="2107"/>
          <ac:graphicFrameMkLst>
            <pc:docMk/>
            <pc:sldMk cId="1548672113" sldId="262"/>
            <ac:graphicFrameMk id="45" creationId="{6F7F3318-AC57-E1C7-7804-BE5C1FB73D3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4:56.135" v="2171"/>
          <ac:graphicFrameMkLst>
            <pc:docMk/>
            <pc:sldMk cId="1548672113" sldId="262"/>
            <ac:graphicFrameMk id="47" creationId="{22091E97-8B24-FCEE-104C-FC9691DA2B86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04.093" v="2240"/>
          <ac:graphicFrameMkLst>
            <pc:docMk/>
            <pc:sldMk cId="1548672113" sldId="262"/>
            <ac:graphicFrameMk id="48" creationId="{74379544-65E4-835F-DA71-C77D1C5B1E4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06.557" v="2311"/>
          <ac:graphicFrameMkLst>
            <pc:docMk/>
            <pc:sldMk cId="1548672113" sldId="262"/>
            <ac:graphicFrameMk id="50" creationId="{FA06FBA7-ED84-7A00-1C46-76398B2E155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09.319" v="2382"/>
          <ac:graphicFrameMkLst>
            <pc:docMk/>
            <pc:sldMk cId="1548672113" sldId="262"/>
            <ac:graphicFrameMk id="52" creationId="{F90FE46C-B77F-6EAD-3517-3C0AFB8EBAA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18.955" v="2501"/>
          <ac:graphicFrameMkLst>
            <pc:docMk/>
            <pc:sldMk cId="1548672113" sldId="262"/>
            <ac:graphicFrameMk id="54" creationId="{A95E7DCF-6D5D-95B1-537F-6FF1C03A63C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20.650" v="2592"/>
          <ac:graphicFrameMkLst>
            <pc:docMk/>
            <pc:sldMk cId="1548672113" sldId="262"/>
            <ac:graphicFrameMk id="58" creationId="{3E8899CB-6451-258A-77B1-FFF613C46AF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24.639" v="2650"/>
          <ac:graphicFrameMkLst>
            <pc:docMk/>
            <pc:sldMk cId="1548672113" sldId="262"/>
            <ac:graphicFrameMk id="60" creationId="{7D3B6E67-E9B4-9E97-BA82-70EED3FD83B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26.127" v="2690"/>
          <ac:graphicFrameMkLst>
            <pc:docMk/>
            <pc:sldMk cId="1548672113" sldId="262"/>
            <ac:graphicFrameMk id="61" creationId="{DF8E555C-C0A5-701E-399E-BE3EB3EB6CE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40.571" v="2941"/>
          <ac:graphicFrameMkLst>
            <pc:docMk/>
            <pc:sldMk cId="1548672113" sldId="262"/>
            <ac:graphicFrameMk id="62" creationId="{2AD6B875-9AAF-D1CB-6EC2-E9F42C59B18F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2:05:29.388" v="2836"/>
          <ac:graphicFrameMkLst>
            <pc:docMk/>
            <pc:sldMk cId="1548672113" sldId="262"/>
            <ac:graphicFrameMk id="63" creationId="{ED4C1A28-CB5C-D7F4-3E45-2A98D87F62C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33.580" v="2885"/>
          <ac:graphicFrameMkLst>
            <pc:docMk/>
            <pc:sldMk cId="1548672113" sldId="262"/>
            <ac:graphicFrameMk id="69" creationId="{1755D2AF-069D-E40A-9DDD-C9DFAD3ED46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5:34.749" v="2922"/>
          <ac:graphicFrameMkLst>
            <pc:docMk/>
            <pc:sldMk cId="1548672113" sldId="262"/>
            <ac:graphicFrameMk id="70" creationId="{C9624772-A421-0086-ACE3-2710AF334F7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08.953" v="3135"/>
          <ac:graphicFrameMkLst>
            <pc:docMk/>
            <pc:sldMk cId="1548672113" sldId="262"/>
            <ac:graphicFrameMk id="71" creationId="{DE9D958A-2B9D-6385-8AAD-F422D9041213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2:06:03.041" v="3087"/>
          <ac:graphicFrameMkLst>
            <pc:docMk/>
            <pc:sldMk cId="1548672113" sldId="262"/>
            <ac:graphicFrameMk id="72" creationId="{BFD28959-01AC-DF31-E6DA-E98B893CE49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43.239" v="4222"/>
          <ac:graphicFrameMkLst>
            <pc:docMk/>
            <pc:sldMk cId="1548672113" sldId="262"/>
            <ac:graphicFrameMk id="78" creationId="{0EEE2D98-1187-EB1B-7212-C654B245DC5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18.724" v="3290"/>
          <ac:graphicFrameMkLst>
            <pc:docMk/>
            <pc:sldMk cId="1548672113" sldId="262"/>
            <ac:graphicFrameMk id="79" creationId="{82687824-E986-6C6C-9B61-3632184D786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20.842" v="3338"/>
          <ac:graphicFrameMkLst>
            <pc:docMk/>
            <pc:sldMk cId="1548672113" sldId="262"/>
            <ac:graphicFrameMk id="85" creationId="{16D952E9-79AC-FFC3-6C70-78DA956EB7A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21.680" v="3384"/>
          <ac:graphicFrameMkLst>
            <pc:docMk/>
            <pc:sldMk cId="1548672113" sldId="262"/>
            <ac:graphicFrameMk id="86" creationId="{FD8E4192-1513-40EA-F44A-1CA53AAB74E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23.122" v="3475"/>
          <ac:graphicFrameMkLst>
            <pc:docMk/>
            <pc:sldMk cId="1548672113" sldId="262"/>
            <ac:graphicFrameMk id="87" creationId="{EC7E46B3-5D4A-7829-D69C-5F4294E6FA5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29.942" v="3613"/>
          <ac:graphicFrameMkLst>
            <pc:docMk/>
            <pc:sldMk cId="1548672113" sldId="262"/>
            <ac:graphicFrameMk id="89" creationId="{C6879FB9-8CAF-DF29-9C5D-0DA9A0BACDE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31.914" v="3725"/>
          <ac:graphicFrameMkLst>
            <pc:docMk/>
            <pc:sldMk cId="1548672113" sldId="262"/>
            <ac:graphicFrameMk id="91" creationId="{65D63E7F-0D20-0EF5-E4DC-5674121DB52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33.069" v="3857"/>
          <ac:graphicFrameMkLst>
            <pc:docMk/>
            <pc:sldMk cId="1548672113" sldId="262"/>
            <ac:graphicFrameMk id="94" creationId="{A1DD3650-0B81-C700-928A-04515D0BC62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35.258" v="4085"/>
          <ac:graphicFrameMkLst>
            <pc:docMk/>
            <pc:sldMk cId="1548672113" sldId="262"/>
            <ac:graphicFrameMk id="98" creationId="{1DBC895D-05CE-7B1A-A3E7-DA6315C4D0C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37.219" v="4164"/>
          <ac:graphicFrameMkLst>
            <pc:docMk/>
            <pc:sldMk cId="1548672113" sldId="262"/>
            <ac:graphicFrameMk id="105" creationId="{829F656D-BD55-E995-BA60-0A7F8C4529E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42.780" v="4213"/>
          <ac:graphicFrameMkLst>
            <pc:docMk/>
            <pc:sldMk cId="1548672113" sldId="262"/>
            <ac:graphicFrameMk id="106" creationId="{1B662E0E-5757-2A2E-E658-A850B100ECB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54.861" v="4593"/>
          <ac:graphicFrameMkLst>
            <pc:docMk/>
            <pc:sldMk cId="1548672113" sldId="262"/>
            <ac:graphicFrameMk id="113" creationId="{7B0FE4D8-2F89-0D9C-231F-74A91741EF7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56.560" v="4676"/>
          <ac:graphicFrameMkLst>
            <pc:docMk/>
            <pc:sldMk cId="1548672113" sldId="262"/>
            <ac:graphicFrameMk id="117" creationId="{46FECE27-87D7-45BD-A394-D61D11DA86A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6:58.958" v="4759"/>
          <ac:graphicFrameMkLst>
            <pc:docMk/>
            <pc:sldMk cId="1548672113" sldId="262"/>
            <ac:graphicFrameMk id="119" creationId="{A5A1FDC3-1DFF-C613-690B-C31C4CC9806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7:00.034" v="4797"/>
          <ac:graphicFrameMkLst>
            <pc:docMk/>
            <pc:sldMk cId="1548672113" sldId="262"/>
            <ac:graphicFrameMk id="121" creationId="{92915C62-E250-9892-FCA8-89CB184317C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7:05.332" v="4868"/>
          <ac:graphicFrameMkLst>
            <pc:docMk/>
            <pc:sldMk cId="1548672113" sldId="262"/>
            <ac:graphicFrameMk id="122" creationId="{1B0672AE-F4A9-13E6-550F-6DDB001A7F7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7:07.530" v="4935"/>
          <ac:graphicFrameMkLst>
            <pc:docMk/>
            <pc:sldMk cId="1548672113" sldId="262"/>
            <ac:graphicFrameMk id="124" creationId="{3380B31C-0B25-FF82-C603-FDF464BBBAE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7:21.456" v="5037"/>
          <ac:graphicFrameMkLst>
            <pc:docMk/>
            <pc:sldMk cId="1548672113" sldId="262"/>
            <ac:graphicFrameMk id="126" creationId="{28394F13-8BA1-696F-52EB-A26582ECCA9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8:05.270" v="5593"/>
          <ac:graphicFrameMkLst>
            <pc:docMk/>
            <pc:sldMk cId="1548672113" sldId="262"/>
            <ac:graphicFrameMk id="130" creationId="{17E18A9A-4C98-FD19-47BB-EE185C3AC41C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2:07:44.203" v="5447"/>
          <ac:graphicFrameMkLst>
            <pc:docMk/>
            <pc:sldMk cId="1548672113" sldId="262"/>
            <ac:graphicFrameMk id="134" creationId="{3ACA5AF1-7111-456F-D219-00B9B1E2612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08:05.309" v="5606"/>
          <ac:graphicFrameMkLst>
            <pc:docMk/>
            <pc:sldMk cId="1548672113" sldId="262"/>
            <ac:graphicFrameMk id="146" creationId="{EDA4B5FE-2099-F141-DFFC-15C8B356EBE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1:39.999" v="5780"/>
          <ac:graphicFrameMkLst>
            <pc:docMk/>
            <pc:sldMk cId="1548672113" sldId="262"/>
            <ac:graphicFrameMk id="150" creationId="{43E1421C-7C47-E2B2-876B-79BD891DC3C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1:08.530" v="5713"/>
          <ac:graphicFrameMkLst>
            <pc:docMk/>
            <pc:sldMk cId="1548672113" sldId="262"/>
            <ac:graphicFrameMk id="151" creationId="{E9F78E6A-65B5-500E-FCAC-C763893156F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1:40.042" v="5793"/>
          <ac:graphicFrameMkLst>
            <pc:docMk/>
            <pc:sldMk cId="1548672113" sldId="262"/>
            <ac:graphicFrameMk id="158" creationId="{5B391634-89C5-56ED-AC70-DAECA0B17F8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5:09.080" v="6182"/>
          <ac:graphicFrameMkLst>
            <pc:docMk/>
            <pc:sldMk cId="1548672113" sldId="262"/>
            <ac:graphicFrameMk id="161" creationId="{16CF17E6-8F57-6A4A-0D06-B795E3A6442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03.251" v="8297"/>
          <ac:graphicFrameMkLst>
            <pc:docMk/>
            <pc:sldMk cId="1548672113" sldId="262"/>
            <ac:graphicFrameMk id="162" creationId="{7663C5CB-A9B3-3F71-9E58-5DAC9D0DB26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5:52.760" v="6319"/>
          <ac:graphicFrameMkLst>
            <pc:docMk/>
            <pc:sldMk cId="1548672113" sldId="262"/>
            <ac:graphicFrameMk id="168" creationId="{0ADD67AA-6E58-8839-2D0C-62D6C5E95DB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5:55.153" v="6440"/>
          <ac:graphicFrameMkLst>
            <pc:docMk/>
            <pc:sldMk cId="1548672113" sldId="262"/>
            <ac:graphicFrameMk id="170" creationId="{8891D60F-3AB8-88FB-AC54-4194C03BB7B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5:56.291" v="6503"/>
          <ac:graphicFrameMkLst>
            <pc:docMk/>
            <pc:sldMk cId="1548672113" sldId="262"/>
            <ac:graphicFrameMk id="173" creationId="{A9CA1E27-F935-177D-4536-E36376203EE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5:58.364" v="6950"/>
          <ac:graphicFrameMkLst>
            <pc:docMk/>
            <pc:sldMk cId="1548672113" sldId="262"/>
            <ac:graphicFrameMk id="174" creationId="{12963523-A10F-9CA4-56FE-AD94F0FA1B5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6:03.711" v="7157"/>
          <ac:graphicFrameMkLst>
            <pc:docMk/>
            <pc:sldMk cId="1548672113" sldId="262"/>
            <ac:graphicFrameMk id="184" creationId="{42059073-44AC-ECBF-F35B-449AC71364F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6:15.267" v="7253"/>
          <ac:graphicFrameMkLst>
            <pc:docMk/>
            <pc:sldMk cId="1548672113" sldId="262"/>
            <ac:graphicFrameMk id="186" creationId="{C180C676-7C1E-EF92-BCE4-D9513E903AB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6:18.943" v="7439"/>
          <ac:graphicFrameMkLst>
            <pc:docMk/>
            <pc:sldMk cId="1548672113" sldId="262"/>
            <ac:graphicFrameMk id="187" creationId="{AF19F9CC-A2E4-D53C-4136-B88051376B6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6:22.028" v="7645"/>
          <ac:graphicFrameMkLst>
            <pc:docMk/>
            <pc:sldMk cId="1548672113" sldId="262"/>
            <ac:graphicFrameMk id="192" creationId="{5B20CA70-87B0-28DA-07BD-92F94A5F131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6:24.311" v="7866"/>
          <ac:graphicFrameMkLst>
            <pc:docMk/>
            <pc:sldMk cId="1548672113" sldId="262"/>
            <ac:graphicFrameMk id="198" creationId="{43228654-D511-1BB4-747F-D4016F5AA2A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6:25.921" v="7980"/>
          <ac:graphicFrameMkLst>
            <pc:docMk/>
            <pc:sldMk cId="1548672113" sldId="262"/>
            <ac:graphicFrameMk id="204" creationId="{0D7FC0A7-E95A-E322-409A-F09FAEEA027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22:23.463" v="10373"/>
          <ac:graphicFrameMkLst>
            <pc:docMk/>
            <pc:sldMk cId="1548672113" sldId="262"/>
            <ac:graphicFrameMk id="206" creationId="{2B6B2BCB-A887-0F5B-7029-EE8C5B103EE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17.681" v="8690"/>
          <ac:graphicFrameMkLst>
            <pc:docMk/>
            <pc:sldMk cId="1548672113" sldId="262"/>
            <ac:graphicFrameMk id="209" creationId="{07B0AB4B-295D-F38A-8E1C-01EDB4A51F36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19.678" v="8806"/>
          <ac:graphicFrameMkLst>
            <pc:docMk/>
            <pc:sldMk cId="1548672113" sldId="262"/>
            <ac:graphicFrameMk id="218" creationId="{8E37D1FA-42DF-2B95-912E-F6F93B6F3C5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22.620" v="8918"/>
          <ac:graphicFrameMkLst>
            <pc:docMk/>
            <pc:sldMk cId="1548672113" sldId="262"/>
            <ac:graphicFrameMk id="220" creationId="{F588210A-70EE-FBCA-BA10-16F2E0F7214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32.616" v="9028"/>
          <ac:graphicFrameMkLst>
            <pc:docMk/>
            <pc:sldMk cId="1548672113" sldId="262"/>
            <ac:graphicFrameMk id="222" creationId="{13450A4A-0FCB-612B-27A6-08CEB2B8B93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36.294" v="9136"/>
          <ac:graphicFrameMkLst>
            <pc:docMk/>
            <pc:sldMk cId="1548672113" sldId="262"/>
            <ac:graphicFrameMk id="224" creationId="{D694D8D2-386A-32D1-172C-FA56CBDF0D7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39.262" v="9242"/>
          <ac:graphicFrameMkLst>
            <pc:docMk/>
            <pc:sldMk cId="1548672113" sldId="262"/>
            <ac:graphicFrameMk id="226" creationId="{7D9B0C56-C65D-6F39-261B-CD68A8367C4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43.862" v="9392"/>
          <ac:graphicFrameMkLst>
            <pc:docMk/>
            <pc:sldMk cId="1548672113" sldId="262"/>
            <ac:graphicFrameMk id="228" creationId="{99A67471-47C5-2261-11E1-DE1375098E6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46.694" v="9496"/>
          <ac:graphicFrameMkLst>
            <pc:docMk/>
            <pc:sldMk cId="1548672113" sldId="262"/>
            <ac:graphicFrameMk id="231" creationId="{26582425-CDAD-D1E5-D16C-AAB53812A3C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48.341" v="9629"/>
          <ac:graphicFrameMkLst>
            <pc:docMk/>
            <pc:sldMk cId="1548672113" sldId="262"/>
            <ac:graphicFrameMk id="233" creationId="{C8368A95-B3DE-6923-90E2-6C05E824436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49.306" v="9704"/>
          <ac:graphicFrameMkLst>
            <pc:docMk/>
            <pc:sldMk cId="1548672113" sldId="262"/>
            <ac:graphicFrameMk id="236" creationId="{EBACC9FF-A35B-58AC-1AA9-6EDD22C53AE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17:51.408" v="10142"/>
          <ac:graphicFrameMkLst>
            <pc:docMk/>
            <pc:sldMk cId="1548672113" sldId="262"/>
            <ac:graphicFrameMk id="237" creationId="{C7205B12-4C76-3C60-126B-C33F7FB0142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22:23.509" v="10406"/>
          <ac:graphicFrameMkLst>
            <pc:docMk/>
            <pc:sldMk cId="1548672113" sldId="262"/>
            <ac:graphicFrameMk id="246" creationId="{CE47C1C9-808C-623E-9E28-2EF94F515D4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5:50.380" v="24006"/>
          <ac:graphicFrameMkLst>
            <pc:docMk/>
            <pc:sldMk cId="1548672113" sldId="262"/>
            <ac:graphicFrameMk id="249" creationId="{361E61CB-3694-E4AF-4624-B99144F8B05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14.474" v="24373"/>
          <ac:graphicFrameMkLst>
            <pc:docMk/>
            <pc:sldMk cId="1548672113" sldId="262"/>
            <ac:graphicFrameMk id="250" creationId="{A066C8B1-C654-A1F0-D022-2D385EE64A2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5:55.408" v="24097"/>
          <ac:graphicFrameMkLst>
            <pc:docMk/>
            <pc:sldMk cId="1548672113" sldId="262"/>
            <ac:graphicFrameMk id="251" creationId="{E9B8EF26-E992-E7FD-C442-D4A64ADB44C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5:59.814" v="24189"/>
          <ac:graphicFrameMkLst>
            <pc:docMk/>
            <pc:sldMk cId="1548672113" sldId="262"/>
            <ac:graphicFrameMk id="252" creationId="{AC1E8C3B-B7D2-3197-B65D-0F4FBAA772B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06.648" v="24281"/>
          <ac:graphicFrameMkLst>
            <pc:docMk/>
            <pc:sldMk cId="1548672113" sldId="262"/>
            <ac:graphicFrameMk id="253" creationId="{9F18053E-6E6A-771C-95F0-CA01565DC98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07.959" v="33839"/>
          <ac:graphicFrameMkLst>
            <pc:docMk/>
            <pc:sldMk cId="1548672113" sldId="262"/>
            <ac:graphicFrameMk id="254" creationId="{52BA0D01-61A6-3F57-08FF-60239FD656F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0.982" v="24604"/>
          <ac:graphicFrameMkLst>
            <pc:docMk/>
            <pc:sldMk cId="1548672113" sldId="262"/>
            <ac:graphicFrameMk id="255" creationId="{2BEDB482-0B2D-487B-576A-D79DD540E116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7.362" v="24792"/>
          <ac:graphicFrameMkLst>
            <pc:docMk/>
            <pc:sldMk cId="1548672113" sldId="262"/>
            <ac:graphicFrameMk id="261" creationId="{9FFBCD64-0FC2-F452-9D89-55550494BF7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9.420" v="24894"/>
          <ac:graphicFrameMkLst>
            <pc:docMk/>
            <pc:sldMk cId="1548672113" sldId="262"/>
            <ac:graphicFrameMk id="266" creationId="{5F63C1D0-69AB-2FAD-C149-3AA645AC776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9.552" v="25002"/>
          <ac:graphicFrameMkLst>
            <pc:docMk/>
            <pc:sldMk cId="1548672113" sldId="262"/>
            <ac:graphicFrameMk id="267" creationId="{A142CF5F-4EF7-4CC7-C7FE-5DB60C2386B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9.634" v="25109"/>
          <ac:graphicFrameMkLst>
            <pc:docMk/>
            <pc:sldMk cId="1548672113" sldId="262"/>
            <ac:graphicFrameMk id="268" creationId="{CB4A965B-75FC-8A86-012D-7BD6430E918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9.706" v="25216"/>
          <ac:graphicFrameMkLst>
            <pc:docMk/>
            <pc:sldMk cId="1548672113" sldId="262"/>
            <ac:graphicFrameMk id="269" creationId="{DF61B001-A839-3A40-94FB-2D20E36B58B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9.788" v="25323"/>
          <ac:graphicFrameMkLst>
            <pc:docMk/>
            <pc:sldMk cId="1548672113" sldId="262"/>
            <ac:graphicFrameMk id="270" creationId="{04C1B4AD-3E72-47F5-2286-15D2399DBEE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9.859" v="25430"/>
          <ac:graphicFrameMkLst>
            <pc:docMk/>
            <pc:sldMk cId="1548672113" sldId="262"/>
            <ac:graphicFrameMk id="271" creationId="{7641B2A1-A963-3E72-2C2C-36F5AADFB34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29.941" v="25537"/>
          <ac:graphicFrameMkLst>
            <pc:docMk/>
            <pc:sldMk cId="1548672113" sldId="262"/>
            <ac:graphicFrameMk id="272" creationId="{AB75FD55-9BE4-14B3-1F86-CEC7667A89D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30.012" v="25644"/>
          <ac:graphicFrameMkLst>
            <pc:docMk/>
            <pc:sldMk cId="1548672113" sldId="262"/>
            <ac:graphicFrameMk id="273" creationId="{7D667D81-2080-14CD-9DD1-34B84D427C5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33.783" v="25751"/>
          <ac:graphicFrameMkLst>
            <pc:docMk/>
            <pc:sldMk cId="1548672113" sldId="262"/>
            <ac:graphicFrameMk id="274" creationId="{E121B107-B664-59CA-667F-EA5DA45B16B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38.918" v="25860"/>
          <ac:graphicFrameMkLst>
            <pc:docMk/>
            <pc:sldMk cId="1548672113" sldId="262"/>
            <ac:graphicFrameMk id="275" creationId="{123ADF44-1CFC-683E-D7F8-75A1E98B9C1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43.154" v="25970"/>
          <ac:graphicFrameMkLst>
            <pc:docMk/>
            <pc:sldMk cId="1548672113" sldId="262"/>
            <ac:graphicFrameMk id="276" creationId="{71263592-3C72-4E8D-3BD6-506AA600EF5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06:48.722" v="26081"/>
          <ac:graphicFrameMkLst>
            <pc:docMk/>
            <pc:sldMk cId="1548672113" sldId="262"/>
            <ac:graphicFrameMk id="277" creationId="{535EAE47-EEF9-462A-A32F-2E72EDE8639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08.020" v="33900"/>
          <ac:graphicFrameMkLst>
            <pc:docMk/>
            <pc:sldMk cId="1548672113" sldId="262"/>
            <ac:graphicFrameMk id="278" creationId="{546E824D-F922-523A-A617-0D9385C7B1D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10.294" v="34070"/>
          <ac:graphicFrameMkLst>
            <pc:docMk/>
            <pc:sldMk cId="1548672113" sldId="262"/>
            <ac:graphicFrameMk id="293" creationId="{2949D831-75D9-21B2-6427-E1BDB0A8C4C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10.353" v="34131"/>
          <ac:graphicFrameMkLst>
            <pc:docMk/>
            <pc:sldMk cId="1548672113" sldId="262"/>
            <ac:graphicFrameMk id="294" creationId="{2456CF19-DFE0-308F-3C79-F53C28BB7E5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11.300" v="34301"/>
          <ac:graphicFrameMkLst>
            <pc:docMk/>
            <pc:sldMk cId="1548672113" sldId="262"/>
            <ac:graphicFrameMk id="295" creationId="{51B9F1DA-7B66-49CF-7463-1F3751B135A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11.355" v="34362"/>
          <ac:graphicFrameMkLst>
            <pc:docMk/>
            <pc:sldMk cId="1548672113" sldId="262"/>
            <ac:graphicFrameMk id="296" creationId="{351D2A7C-7254-552B-56AE-A9E2F2F34A6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23.993" v="34519"/>
          <ac:graphicFrameMkLst>
            <pc:docMk/>
            <pc:sldMk cId="1548672113" sldId="262"/>
            <ac:graphicFrameMk id="297" creationId="{BFAE2C8C-D569-8DBF-8F74-586BA518D9C6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24.042" v="34556"/>
          <ac:graphicFrameMkLst>
            <pc:docMk/>
            <pc:sldMk cId="1548672113" sldId="262"/>
            <ac:graphicFrameMk id="298" creationId="{8FB9AAB8-E334-CB44-2A63-8CFD0207F4D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25.384" v="34666"/>
          <ac:graphicFrameMkLst>
            <pc:docMk/>
            <pc:sldMk cId="1548672113" sldId="262"/>
            <ac:graphicFrameMk id="299" creationId="{74A32C62-148C-718C-A614-4C50622DB91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25.431" v="34703"/>
          <ac:graphicFrameMkLst>
            <pc:docMk/>
            <pc:sldMk cId="1548672113" sldId="262"/>
            <ac:graphicFrameMk id="300" creationId="{59437212-93A8-A8BB-5E90-715F7FDAECB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26.489" v="34813"/>
          <ac:graphicFrameMkLst>
            <pc:docMk/>
            <pc:sldMk cId="1548672113" sldId="262"/>
            <ac:graphicFrameMk id="301" creationId="{F16D94E0-E253-9630-529D-EFAED789FE8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57:26.535" v="34850"/>
          <ac:graphicFrameMkLst>
            <pc:docMk/>
            <pc:sldMk cId="1548672113" sldId="262"/>
            <ac:graphicFrameMk id="302" creationId="{5070003C-AB71-6FF8-3E26-F63EA9F164D0}"/>
          </ac:graphicFrameMkLst>
        </pc:graphicFrameChg>
        <pc:graphicFrameChg chg="add del mod ord">
          <ac:chgData name="PJ Grant" userId="21cab94c-7745-4db5-aa88-56cdc0183ba7" providerId="ADAL" clId="{C8CD02E3-132B-40F3-B6A0-926652F128C7}" dt="2024-12-01T00:01:04.783" v="35096"/>
          <ac:graphicFrameMkLst>
            <pc:docMk/>
            <pc:sldMk cId="1548672113" sldId="262"/>
            <ac:graphicFrameMk id="303" creationId="{5B5E1D6A-91DE-45B6-AE57-8488CAB3746D}"/>
          </ac:graphicFrameMkLst>
        </pc:graphicFrameChg>
        <pc:graphicFrameChg chg="add del mod ord">
          <ac:chgData name="PJ Grant" userId="21cab94c-7745-4db5-aa88-56cdc0183ba7" providerId="ADAL" clId="{C8CD02E3-132B-40F3-B6A0-926652F128C7}" dt="2024-12-01T00:01:02.113" v="34991"/>
          <ac:graphicFrameMkLst>
            <pc:docMk/>
            <pc:sldMk cId="1548672113" sldId="262"/>
            <ac:graphicFrameMk id="304" creationId="{CC60706D-6AD2-1C70-D8C1-ADEA87DB33BA}"/>
          </ac:graphicFrameMkLst>
        </pc:graphicFrameChg>
        <pc:graphicFrameChg chg="add mod ord">
          <ac:chgData name="PJ Grant" userId="21cab94c-7745-4db5-aa88-56cdc0183ba7" providerId="ADAL" clId="{C8CD02E3-132B-40F3-B6A0-926652F128C7}" dt="2024-12-01T00:01:04.824" v="35139"/>
          <ac:graphicFrameMkLst>
            <pc:docMk/>
            <pc:sldMk cId="1548672113" sldId="262"/>
            <ac:graphicFrameMk id="305" creationId="{80C14AC5-F387-33EB-3175-A3D40E5BE116}"/>
          </ac:graphicFrameMkLst>
        </pc:graphicFrameChg>
        <pc:graphicFrameChg chg="add mod ord">
          <ac:chgData name="PJ Grant" userId="21cab94c-7745-4db5-aa88-56cdc0183ba7" providerId="ADAL" clId="{C8CD02E3-132B-40F3-B6A0-926652F128C7}" dt="2024-12-01T00:01:04.818" v="35115"/>
          <ac:graphicFrameMkLst>
            <pc:docMk/>
            <pc:sldMk cId="1548672113" sldId="262"/>
            <ac:graphicFrameMk id="306" creationId="{A0255122-6CDB-3875-765D-2AB00F8CE980}"/>
          </ac:graphicFrameMkLst>
        </pc:graphicFrameChg>
        <pc:cxnChg chg="add mod ord">
          <ac:chgData name="PJ Grant" userId="21cab94c-7745-4db5-aa88-56cdc0183ba7" providerId="ADAL" clId="{C8CD02E3-132B-40F3-B6A0-926652F128C7}" dt="2024-12-01T00:01:04.817" v="35111"/>
          <ac:cxnSpMkLst>
            <pc:docMk/>
            <pc:sldMk cId="1548672113" sldId="262"/>
            <ac:cxnSpMk id="11" creationId="{4465D9CA-6AF4-898A-9760-B0241DD5C1DD}"/>
          </ac:cxnSpMkLst>
        </pc:cxnChg>
        <pc:cxnChg chg="add del mod ord">
          <ac:chgData name="PJ Grant" userId="21cab94c-7745-4db5-aa88-56cdc0183ba7" providerId="ADAL" clId="{C8CD02E3-132B-40F3-B6A0-926652F128C7}" dt="2024-11-30T22:05:20.649" v="2590"/>
          <ac:cxnSpMkLst>
            <pc:docMk/>
            <pc:sldMk cId="1548672113" sldId="262"/>
            <ac:cxnSpMk id="57" creationId="{DDE2A5D7-B07F-0A7B-A00F-AF327977E343}"/>
          </ac:cxnSpMkLst>
        </pc:cxnChg>
        <pc:cxnChg chg="add mod ord">
          <ac:chgData name="PJ Grant" userId="21cab94c-7745-4db5-aa88-56cdc0183ba7" providerId="ADAL" clId="{C8CD02E3-132B-40F3-B6A0-926652F128C7}" dt="2024-12-01T00:01:04.828" v="35151"/>
          <ac:cxnSpMkLst>
            <pc:docMk/>
            <pc:sldMk cId="1548672113" sldId="262"/>
            <ac:cxnSpMk id="147" creationId="{B288B7D9-2C37-F491-5D2D-F3EFC36A5055}"/>
          </ac:cxnSpMkLst>
        </pc:cxnChg>
        <pc:cxnChg chg="add del mod">
          <ac:chgData name="PJ Grant" userId="21cab94c-7745-4db5-aa88-56cdc0183ba7" providerId="ADAL" clId="{C8CD02E3-132B-40F3-B6A0-926652F128C7}" dt="2024-12-01T00:16:10.708" v="35817" actId="478"/>
          <ac:cxnSpMkLst>
            <pc:docMk/>
            <pc:sldMk cId="1548672113" sldId="262"/>
            <ac:cxnSpMk id="340" creationId="{8F385CC8-9604-2A0F-D9DB-B376BA6A7758}"/>
          </ac:cxnSpMkLst>
        </pc:cxnChg>
      </pc:sldChg>
      <pc:sldChg chg="addSp delSp modSp del mod">
        <pc:chgData name="PJ Grant" userId="21cab94c-7745-4db5-aa88-56cdc0183ba7" providerId="ADAL" clId="{C8CD02E3-132B-40F3-B6A0-926652F128C7}" dt="2024-11-30T23:41:57.213" v="29178" actId="47"/>
        <pc:sldMkLst>
          <pc:docMk/>
          <pc:sldMk cId="3363102879" sldId="263"/>
        </pc:sldMkLst>
        <pc:spChg chg="add mod">
          <ac:chgData name="PJ Grant" userId="21cab94c-7745-4db5-aa88-56cdc0183ba7" providerId="ADAL" clId="{C8CD02E3-132B-40F3-B6A0-926652F128C7}" dt="2024-11-29T17:55:34.200" v="1"/>
          <ac:spMkLst>
            <pc:docMk/>
            <pc:sldMk cId="3363102879" sldId="263"/>
            <ac:spMk id="6" creationId="{1AB3CCDE-ABA8-2272-3490-6B8C7C90856A}"/>
          </ac:spMkLst>
        </pc:spChg>
        <pc:spChg chg="add mod">
          <ac:chgData name="PJ Grant" userId="21cab94c-7745-4db5-aa88-56cdc0183ba7" providerId="ADAL" clId="{C8CD02E3-132B-40F3-B6A0-926652F128C7}" dt="2024-11-30T23:26:39.843" v="26458" actId="14100"/>
          <ac:spMkLst>
            <pc:docMk/>
            <pc:sldMk cId="3363102879" sldId="263"/>
            <ac:spMk id="7" creationId="{07F27C88-479F-3CD3-7092-7F802F04FB96}"/>
          </ac:spMkLst>
        </pc:spChg>
        <pc:spChg chg="add mod">
          <ac:chgData name="PJ Grant" userId="21cab94c-7745-4db5-aa88-56cdc0183ba7" providerId="ADAL" clId="{C8CD02E3-132B-40F3-B6A0-926652F128C7}" dt="2024-11-30T23:26:48.387" v="26461" actId="1076"/>
          <ac:spMkLst>
            <pc:docMk/>
            <pc:sldMk cId="3363102879" sldId="263"/>
            <ac:spMk id="9" creationId="{0799F58E-E04F-310B-C6D9-21BFE6483DAE}"/>
          </ac:spMkLst>
        </pc:spChg>
        <pc:spChg chg="add mod">
          <ac:chgData name="PJ Grant" userId="21cab94c-7745-4db5-aa88-56cdc0183ba7" providerId="ADAL" clId="{C8CD02E3-132B-40F3-B6A0-926652F128C7}" dt="2024-11-30T23:18:48.880" v="26220" actId="14100"/>
          <ac:spMkLst>
            <pc:docMk/>
            <pc:sldMk cId="3363102879" sldId="263"/>
            <ac:spMk id="11" creationId="{F5DBE83E-EB3F-7055-49E0-5B52C05715A9}"/>
          </ac:spMkLst>
        </pc:spChg>
        <pc:spChg chg="add mod">
          <ac:chgData name="PJ Grant" userId="21cab94c-7745-4db5-aa88-56cdc0183ba7" providerId="ADAL" clId="{C8CD02E3-132B-40F3-B6A0-926652F128C7}" dt="2024-11-30T23:25:08.861" v="26445" actId="20577"/>
          <ac:spMkLst>
            <pc:docMk/>
            <pc:sldMk cId="3363102879" sldId="263"/>
            <ac:spMk id="13" creationId="{93E4569B-8F6D-2C93-77C7-9F71FBDFE735}"/>
          </ac:spMkLst>
        </pc:spChg>
        <pc:spChg chg="add del mod">
          <ac:chgData name="PJ Grant" userId="21cab94c-7745-4db5-aa88-56cdc0183ba7" providerId="ADAL" clId="{C8CD02E3-132B-40F3-B6A0-926652F128C7}" dt="2024-11-30T23:24:59.867" v="26423" actId="478"/>
          <ac:spMkLst>
            <pc:docMk/>
            <pc:sldMk cId="3363102879" sldId="263"/>
            <ac:spMk id="14" creationId="{0CD02E97-2AC5-058D-1967-30D6A436593C}"/>
          </ac:spMkLst>
        </pc:spChg>
        <pc:spChg chg="add mod">
          <ac:chgData name="PJ Grant" userId="21cab94c-7745-4db5-aa88-56cdc0183ba7" providerId="ADAL" clId="{C8CD02E3-132B-40F3-B6A0-926652F128C7}" dt="2024-11-30T23:26:28.158" v="26453" actId="1076"/>
          <ac:spMkLst>
            <pc:docMk/>
            <pc:sldMk cId="3363102879" sldId="263"/>
            <ac:spMk id="15" creationId="{A84A84A0-624F-6575-7CA4-E4F7ACD56CA2}"/>
          </ac:spMkLst>
        </pc:spChg>
        <pc:spChg chg="add mod">
          <ac:chgData name="PJ Grant" userId="21cab94c-7745-4db5-aa88-56cdc0183ba7" providerId="ADAL" clId="{C8CD02E3-132B-40F3-B6A0-926652F128C7}" dt="2024-11-30T23:26:28.158" v="26453" actId="1076"/>
          <ac:spMkLst>
            <pc:docMk/>
            <pc:sldMk cId="3363102879" sldId="263"/>
            <ac:spMk id="16" creationId="{CADCF8C2-CD13-1054-C555-A3129FF65C41}"/>
          </ac:spMkLst>
        </pc:spChg>
        <pc:spChg chg="add mod">
          <ac:chgData name="PJ Grant" userId="21cab94c-7745-4db5-aa88-56cdc0183ba7" providerId="ADAL" clId="{C8CD02E3-132B-40F3-B6A0-926652F128C7}" dt="2024-11-30T23:26:28.158" v="26453" actId="1076"/>
          <ac:spMkLst>
            <pc:docMk/>
            <pc:sldMk cId="3363102879" sldId="263"/>
            <ac:spMk id="19" creationId="{57F985C1-4781-B417-4D59-A6CB056CD62A}"/>
          </ac:spMkLst>
        </pc:spChg>
        <pc:spChg chg="add mod">
          <ac:chgData name="PJ Grant" userId="21cab94c-7745-4db5-aa88-56cdc0183ba7" providerId="ADAL" clId="{C8CD02E3-132B-40F3-B6A0-926652F128C7}" dt="2024-11-30T23:23:19.538" v="26316" actId="20577"/>
          <ac:spMkLst>
            <pc:docMk/>
            <pc:sldMk cId="3363102879" sldId="263"/>
            <ac:spMk id="20" creationId="{D8C612F7-C8FB-B3F5-B5E3-882F34AC87C5}"/>
          </ac:spMkLst>
        </pc:spChg>
        <pc:spChg chg="add mod">
          <ac:chgData name="PJ Grant" userId="21cab94c-7745-4db5-aa88-56cdc0183ba7" providerId="ADAL" clId="{C8CD02E3-132B-40F3-B6A0-926652F128C7}" dt="2024-11-30T23:23:45.431" v="26339" actId="465"/>
          <ac:spMkLst>
            <pc:docMk/>
            <pc:sldMk cId="3363102879" sldId="263"/>
            <ac:spMk id="21" creationId="{8059821B-81F7-2EC4-9408-A6EBE56E8A3C}"/>
          </ac:spMkLst>
        </pc:spChg>
        <pc:spChg chg="add mod">
          <ac:chgData name="PJ Grant" userId="21cab94c-7745-4db5-aa88-56cdc0183ba7" providerId="ADAL" clId="{C8CD02E3-132B-40F3-B6A0-926652F128C7}" dt="2024-11-30T23:23:45.431" v="26339" actId="465"/>
          <ac:spMkLst>
            <pc:docMk/>
            <pc:sldMk cId="3363102879" sldId="263"/>
            <ac:spMk id="22" creationId="{C288B3DA-E1A5-CDB0-BDA3-2FB99C733CCA}"/>
          </ac:spMkLst>
        </pc:spChg>
        <pc:spChg chg="add mod">
          <ac:chgData name="PJ Grant" userId="21cab94c-7745-4db5-aa88-56cdc0183ba7" providerId="ADAL" clId="{C8CD02E3-132B-40F3-B6A0-926652F128C7}" dt="2024-11-30T23:23:59.457" v="26343" actId="1076"/>
          <ac:spMkLst>
            <pc:docMk/>
            <pc:sldMk cId="3363102879" sldId="263"/>
            <ac:spMk id="23" creationId="{93D40925-11F3-BF8A-CF27-2ED4AB2A33AE}"/>
          </ac:spMkLst>
        </pc:spChg>
        <pc:spChg chg="add mod">
          <ac:chgData name="PJ Grant" userId="21cab94c-7745-4db5-aa88-56cdc0183ba7" providerId="ADAL" clId="{C8CD02E3-132B-40F3-B6A0-926652F128C7}" dt="2024-11-30T23:25:13.613" v="26446" actId="113"/>
          <ac:spMkLst>
            <pc:docMk/>
            <pc:sldMk cId="3363102879" sldId="263"/>
            <ac:spMk id="31" creationId="{6DD7B723-2C1C-28F9-2464-737E31DC0531}"/>
          </ac:spMkLst>
        </pc:spChg>
        <pc:spChg chg="add mod">
          <ac:chgData name="PJ Grant" userId="21cab94c-7745-4db5-aa88-56cdc0183ba7" providerId="ADAL" clId="{C8CD02E3-132B-40F3-B6A0-926652F128C7}" dt="2024-11-30T23:25:13.613" v="26446" actId="113"/>
          <ac:spMkLst>
            <pc:docMk/>
            <pc:sldMk cId="3363102879" sldId="263"/>
            <ac:spMk id="32" creationId="{8E5B5893-543B-46E0-388F-38C73B6C9E79}"/>
          </ac:spMkLst>
        </pc:spChg>
        <pc:spChg chg="add mod">
          <ac:chgData name="PJ Grant" userId="21cab94c-7745-4db5-aa88-56cdc0183ba7" providerId="ADAL" clId="{C8CD02E3-132B-40F3-B6A0-926652F128C7}" dt="2024-11-30T23:25:16.335" v="26447" actId="1076"/>
          <ac:spMkLst>
            <pc:docMk/>
            <pc:sldMk cId="3363102879" sldId="263"/>
            <ac:spMk id="33" creationId="{A1F0D710-3375-1B5A-A4E4-EC4CFA423C4A}"/>
          </ac:spMkLst>
        </pc:spChg>
        <pc:spChg chg="add mod">
          <ac:chgData name="PJ Grant" userId="21cab94c-7745-4db5-aa88-56cdc0183ba7" providerId="ADAL" clId="{C8CD02E3-132B-40F3-B6A0-926652F128C7}" dt="2024-11-30T23:25:33.119" v="26450" actId="571"/>
          <ac:spMkLst>
            <pc:docMk/>
            <pc:sldMk cId="3363102879" sldId="263"/>
            <ac:spMk id="36" creationId="{B4AE536C-978A-8475-27CF-D10C5DD8B064}"/>
          </ac:spMkLst>
        </pc:spChg>
        <pc:spChg chg="add mod">
          <ac:chgData name="PJ Grant" userId="21cab94c-7745-4db5-aa88-56cdc0183ba7" providerId="ADAL" clId="{C8CD02E3-132B-40F3-B6A0-926652F128C7}" dt="2024-11-30T23:25:33.119" v="26450" actId="571"/>
          <ac:spMkLst>
            <pc:docMk/>
            <pc:sldMk cId="3363102879" sldId="263"/>
            <ac:spMk id="37" creationId="{0E0F73D9-1A9C-F90D-7F4F-45870F2ED02E}"/>
          </ac:spMkLst>
        </pc:spChg>
        <pc:spChg chg="add mod">
          <ac:chgData name="PJ Grant" userId="21cab94c-7745-4db5-aa88-56cdc0183ba7" providerId="ADAL" clId="{C8CD02E3-132B-40F3-B6A0-926652F128C7}" dt="2024-11-30T23:25:33.119" v="26450" actId="571"/>
          <ac:spMkLst>
            <pc:docMk/>
            <pc:sldMk cId="3363102879" sldId="263"/>
            <ac:spMk id="38" creationId="{9479F2EB-BD6D-BB7F-B3F5-38AE030C5BD5}"/>
          </ac:spMkLst>
        </pc:spChg>
        <pc:spChg chg="add mod">
          <ac:chgData name="PJ Grant" userId="21cab94c-7745-4db5-aa88-56cdc0183ba7" providerId="ADAL" clId="{C8CD02E3-132B-40F3-B6A0-926652F128C7}" dt="2024-11-30T23:25:35.496" v="26451" actId="571"/>
          <ac:spMkLst>
            <pc:docMk/>
            <pc:sldMk cId="3363102879" sldId="263"/>
            <ac:spMk id="41" creationId="{CE73D5C8-F991-C4B7-E349-DDA3281B3ACE}"/>
          </ac:spMkLst>
        </pc:spChg>
        <pc:spChg chg="add mod">
          <ac:chgData name="PJ Grant" userId="21cab94c-7745-4db5-aa88-56cdc0183ba7" providerId="ADAL" clId="{C8CD02E3-132B-40F3-B6A0-926652F128C7}" dt="2024-11-30T23:25:35.496" v="26451" actId="571"/>
          <ac:spMkLst>
            <pc:docMk/>
            <pc:sldMk cId="3363102879" sldId="263"/>
            <ac:spMk id="42" creationId="{B70D2558-3239-4E0C-517A-DDEAA3E6284A}"/>
          </ac:spMkLst>
        </pc:spChg>
        <pc:spChg chg="add mod">
          <ac:chgData name="PJ Grant" userId="21cab94c-7745-4db5-aa88-56cdc0183ba7" providerId="ADAL" clId="{C8CD02E3-132B-40F3-B6A0-926652F128C7}" dt="2024-11-30T23:25:35.496" v="26451" actId="571"/>
          <ac:spMkLst>
            <pc:docMk/>
            <pc:sldMk cId="3363102879" sldId="263"/>
            <ac:spMk id="43" creationId="{11E1C7A3-56E4-E299-5495-3289163B92F2}"/>
          </ac:spMkLst>
        </pc:spChg>
        <pc:spChg chg="add mod">
          <ac:chgData name="PJ Grant" userId="21cab94c-7745-4db5-aa88-56cdc0183ba7" providerId="ADAL" clId="{C8CD02E3-132B-40F3-B6A0-926652F128C7}" dt="2024-11-30T23:25:37.814" v="26452" actId="571"/>
          <ac:spMkLst>
            <pc:docMk/>
            <pc:sldMk cId="3363102879" sldId="263"/>
            <ac:spMk id="46" creationId="{992D9A48-76C2-E2D6-A385-352F7560380B}"/>
          </ac:spMkLst>
        </pc:spChg>
        <pc:spChg chg="add mod">
          <ac:chgData name="PJ Grant" userId="21cab94c-7745-4db5-aa88-56cdc0183ba7" providerId="ADAL" clId="{C8CD02E3-132B-40F3-B6A0-926652F128C7}" dt="2024-11-30T23:25:37.814" v="26452" actId="571"/>
          <ac:spMkLst>
            <pc:docMk/>
            <pc:sldMk cId="3363102879" sldId="263"/>
            <ac:spMk id="47" creationId="{4C1E3A63-11EC-04D7-45E5-8E64B256653A}"/>
          </ac:spMkLst>
        </pc:spChg>
        <pc:spChg chg="add mod">
          <ac:chgData name="PJ Grant" userId="21cab94c-7745-4db5-aa88-56cdc0183ba7" providerId="ADAL" clId="{C8CD02E3-132B-40F3-B6A0-926652F128C7}" dt="2024-11-30T23:25:37.814" v="26452" actId="571"/>
          <ac:spMkLst>
            <pc:docMk/>
            <pc:sldMk cId="3363102879" sldId="263"/>
            <ac:spMk id="48" creationId="{B42B5995-8751-571F-986E-05956DD7030C}"/>
          </ac:spMkLst>
        </pc:spChg>
        <pc:grpChg chg="add mod">
          <ac:chgData name="PJ Grant" userId="21cab94c-7745-4db5-aa88-56cdc0183ba7" providerId="ADAL" clId="{C8CD02E3-132B-40F3-B6A0-926652F128C7}" dt="2024-11-30T23:26:36.646" v="26457" actId="14100"/>
          <ac:grpSpMkLst>
            <pc:docMk/>
            <pc:sldMk cId="3363102879" sldId="263"/>
            <ac:grpSpMk id="49" creationId="{59639A00-C683-0FFF-2AA0-0B680F9793A2}"/>
          </ac:grpSpMkLst>
        </pc:grpChg>
        <pc:cxnChg chg="add mod">
          <ac:chgData name="PJ Grant" userId="21cab94c-7745-4db5-aa88-56cdc0183ba7" providerId="ADAL" clId="{C8CD02E3-132B-40F3-B6A0-926652F128C7}" dt="2024-11-30T23:26:45.446" v="26460" actId="14100"/>
          <ac:cxnSpMkLst>
            <pc:docMk/>
            <pc:sldMk cId="3363102879" sldId="263"/>
            <ac:cxnSpMk id="8" creationId="{A3A723D0-F3DA-D8A9-8ADB-BEB4FA1EDE90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10" creationId="{0F921B97-B6CB-4600-6978-FBF62732D22A}"/>
          </ac:cxnSpMkLst>
        </pc:cxnChg>
        <pc:cxnChg chg="add mod">
          <ac:chgData name="PJ Grant" userId="21cab94c-7745-4db5-aa88-56cdc0183ba7" providerId="ADAL" clId="{C8CD02E3-132B-40F3-B6A0-926652F128C7}" dt="2024-11-30T23:26:28.158" v="26453" actId="1076"/>
          <ac:cxnSpMkLst>
            <pc:docMk/>
            <pc:sldMk cId="3363102879" sldId="263"/>
            <ac:cxnSpMk id="17" creationId="{32E5141C-222E-666C-17C8-27350CCE7868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24" creationId="{99ECF387-8FBA-00F0-879D-9742BFB060DB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25" creationId="{3278BBB6-3A74-1E3D-44FA-006DC9398EF7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26" creationId="{C3FB37BA-F4EF-6095-4E5E-145B554CF906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27" creationId="{9A50485B-7D11-10E9-D4F0-6D3EB7412032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29" creationId="{48E98CB5-70B5-380E-5A96-B4AF039AF3B2}"/>
          </ac:cxnSpMkLst>
        </pc:cxnChg>
        <pc:cxnChg chg="add del mod">
          <ac:chgData name="PJ Grant" userId="21cab94c-7745-4db5-aa88-56cdc0183ba7" providerId="ADAL" clId="{C8CD02E3-132B-40F3-B6A0-926652F128C7}" dt="2024-11-30T23:24:50.800" v="26420" actId="478"/>
          <ac:cxnSpMkLst>
            <pc:docMk/>
            <pc:sldMk cId="3363102879" sldId="263"/>
            <ac:cxnSpMk id="30" creationId="{1C3B0C22-D381-BE08-FF32-907257FEF2BA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34" creationId="{6447660F-C7D9-F42C-7AD0-103C05079BA5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35" creationId="{79742E52-A96A-EF7F-7088-8340EA3F3FC8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39" creationId="{78038727-07CC-22A8-5E8C-1A3E3E3361A4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40" creationId="{ED8AE550-C985-7D2D-09A6-DA2CE2B541C9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44" creationId="{99CF3CDB-FC23-8266-20D1-0B34EB3477DA}"/>
          </ac:cxnSpMkLst>
        </pc:cxnChg>
        <pc:cxnChg chg="add mod">
          <ac:chgData name="PJ Grant" userId="21cab94c-7745-4db5-aa88-56cdc0183ba7" providerId="ADAL" clId="{C8CD02E3-132B-40F3-B6A0-926652F128C7}" dt="2024-11-30T23:26:34.003" v="26456" actId="164"/>
          <ac:cxnSpMkLst>
            <pc:docMk/>
            <pc:sldMk cId="3363102879" sldId="263"/>
            <ac:cxnSpMk id="45" creationId="{424ED4D7-DD88-D061-E9DE-D7E14B1E597E}"/>
          </ac:cxnSpMkLst>
        </pc:cxnChg>
      </pc:sldChg>
      <pc:sldChg chg="addSp delSp modSp mod">
        <pc:chgData name="PJ Grant" userId="21cab94c-7745-4db5-aa88-56cdc0183ba7" providerId="ADAL" clId="{C8CD02E3-132B-40F3-B6A0-926652F128C7}" dt="2024-12-01T02:34:03.041" v="41570" actId="478"/>
        <pc:sldMkLst>
          <pc:docMk/>
          <pc:sldMk cId="88160055" sldId="264"/>
        </pc:sldMkLst>
        <pc:spChg chg="add mod">
          <ac:chgData name="PJ Grant" userId="21cab94c-7745-4db5-aa88-56cdc0183ba7" providerId="ADAL" clId="{C8CD02E3-132B-40F3-B6A0-926652F128C7}" dt="2024-11-29T17:55:35.412" v="2"/>
          <ac:spMkLst>
            <pc:docMk/>
            <pc:sldMk cId="88160055" sldId="264"/>
            <ac:spMk id="10" creationId="{58FB6397-83D5-90F9-CD4E-D32E9BA2E31B}"/>
          </ac:spMkLst>
        </pc:spChg>
        <pc:spChg chg="add del mod">
          <ac:chgData name="PJ Grant" userId="21cab94c-7745-4db5-aa88-56cdc0183ba7" providerId="ADAL" clId="{C8CD02E3-132B-40F3-B6A0-926652F128C7}" dt="2024-11-30T23:51:40.094" v="32853" actId="478"/>
          <ac:spMkLst>
            <pc:docMk/>
            <pc:sldMk cId="88160055" sldId="264"/>
            <ac:spMk id="11" creationId="{B2544866-2F23-E861-B739-80E8E9F0BD8E}"/>
          </ac:spMkLst>
        </pc:spChg>
        <pc:spChg chg="add mod">
          <ac:chgData name="PJ Grant" userId="21cab94c-7745-4db5-aa88-56cdc0183ba7" providerId="ADAL" clId="{C8CD02E3-132B-40F3-B6A0-926652F128C7}" dt="2024-11-30T23:51:46.001" v="32854"/>
          <ac:spMkLst>
            <pc:docMk/>
            <pc:sldMk cId="88160055" sldId="264"/>
            <ac:spMk id="13" creationId="{414C657A-0650-16FC-C24B-C5C3107BDF91}"/>
          </ac:spMkLst>
        </pc:spChg>
        <pc:spChg chg="add mod">
          <ac:chgData name="PJ Grant" userId="21cab94c-7745-4db5-aa88-56cdc0183ba7" providerId="ADAL" clId="{C8CD02E3-132B-40F3-B6A0-926652F128C7}" dt="2024-11-30T23:52:27.991" v="32875" actId="20577"/>
          <ac:spMkLst>
            <pc:docMk/>
            <pc:sldMk cId="88160055" sldId="264"/>
            <ac:spMk id="14" creationId="{630D62D0-2165-7EFC-8721-61AC5FDA892D}"/>
          </ac:spMkLst>
        </pc:spChg>
        <pc:spChg chg="add mod">
          <ac:chgData name="PJ Grant" userId="21cab94c-7745-4db5-aa88-56cdc0183ba7" providerId="ADAL" clId="{C8CD02E3-132B-40F3-B6A0-926652F128C7}" dt="2024-11-30T23:52:45.007" v="32952" actId="20577"/>
          <ac:spMkLst>
            <pc:docMk/>
            <pc:sldMk cId="88160055" sldId="264"/>
            <ac:spMk id="15" creationId="{5972294B-5C60-DC8B-450D-A9AE0084C7E1}"/>
          </ac:spMkLst>
        </pc:spChg>
        <pc:spChg chg="add del mod">
          <ac:chgData name="PJ Grant" userId="21cab94c-7745-4db5-aa88-56cdc0183ba7" providerId="ADAL" clId="{C8CD02E3-132B-40F3-B6A0-926652F128C7}" dt="2024-12-01T02:34:03.041" v="41570" actId="478"/>
          <ac:spMkLst>
            <pc:docMk/>
            <pc:sldMk cId="88160055" sldId="264"/>
            <ac:spMk id="16" creationId="{F5811C38-EF4A-8596-EFF0-88A39FC4F58E}"/>
          </ac:spMkLst>
        </pc:spChg>
        <pc:spChg chg="add mod">
          <ac:chgData name="PJ Grant" userId="21cab94c-7745-4db5-aa88-56cdc0183ba7" providerId="ADAL" clId="{C8CD02E3-132B-40F3-B6A0-926652F128C7}" dt="2024-12-01T02:33:42.063" v="41515" actId="20577"/>
          <ac:spMkLst>
            <pc:docMk/>
            <pc:sldMk cId="88160055" sldId="264"/>
            <ac:spMk id="17" creationId="{D96983F3-A47F-B7D5-8F46-02327D6587BD}"/>
          </ac:spMkLst>
        </pc:spChg>
        <pc:spChg chg="add del mod">
          <ac:chgData name="PJ Grant" userId="21cab94c-7745-4db5-aa88-56cdc0183ba7" providerId="ADAL" clId="{C8CD02E3-132B-40F3-B6A0-926652F128C7}" dt="2024-11-30T23:52:55.455" v="32960" actId="478"/>
          <ac:spMkLst>
            <pc:docMk/>
            <pc:sldMk cId="88160055" sldId="264"/>
            <ac:spMk id="18" creationId="{D3DCD9C7-2B81-8F1C-004E-000DC65741E3}"/>
          </ac:spMkLst>
        </pc:spChg>
        <pc:spChg chg="add del mod">
          <ac:chgData name="PJ Grant" userId="21cab94c-7745-4db5-aa88-56cdc0183ba7" providerId="ADAL" clId="{C8CD02E3-132B-40F3-B6A0-926652F128C7}" dt="2024-11-30T23:52:55.455" v="32960" actId="478"/>
          <ac:spMkLst>
            <pc:docMk/>
            <pc:sldMk cId="88160055" sldId="264"/>
            <ac:spMk id="19" creationId="{8AD0B792-8344-9A48-2F70-CD6AC3AA20E0}"/>
          </ac:spMkLst>
        </pc:spChg>
        <pc:spChg chg="add mod">
          <ac:chgData name="PJ Grant" userId="21cab94c-7745-4db5-aa88-56cdc0183ba7" providerId="ADAL" clId="{C8CD02E3-132B-40F3-B6A0-926652F128C7}" dt="2024-12-01T02:33:57.409" v="41569" actId="20577"/>
          <ac:spMkLst>
            <pc:docMk/>
            <pc:sldMk cId="88160055" sldId="264"/>
            <ac:spMk id="20" creationId="{EB11471B-590E-D050-2B76-D86A0634E6CA}"/>
          </ac:spMkLst>
        </pc:spChg>
        <pc:spChg chg="add del mod">
          <ac:chgData name="PJ Grant" userId="21cab94c-7745-4db5-aa88-56cdc0183ba7" providerId="ADAL" clId="{C8CD02E3-132B-40F3-B6A0-926652F128C7}" dt="2024-12-01T02:34:03.041" v="41570" actId="478"/>
          <ac:spMkLst>
            <pc:docMk/>
            <pc:sldMk cId="88160055" sldId="264"/>
            <ac:spMk id="21" creationId="{8D2EB97B-2525-14B3-8B2A-46AF058E0F1B}"/>
          </ac:spMkLst>
        </pc:spChg>
        <pc:spChg chg="add mod">
          <ac:chgData name="PJ Grant" userId="21cab94c-7745-4db5-aa88-56cdc0183ba7" providerId="ADAL" clId="{C8CD02E3-132B-40F3-B6A0-926652F128C7}" dt="2024-11-30T23:55:32.632" v="33096" actId="1076"/>
          <ac:spMkLst>
            <pc:docMk/>
            <pc:sldMk cId="88160055" sldId="264"/>
            <ac:spMk id="22" creationId="{6DD971E7-6150-B766-F228-C358B44DEEF2}"/>
          </ac:spMkLst>
        </pc:spChg>
        <pc:spChg chg="add mod">
          <ac:chgData name="PJ Grant" userId="21cab94c-7745-4db5-aa88-56cdc0183ba7" providerId="ADAL" clId="{C8CD02E3-132B-40F3-B6A0-926652F128C7}" dt="2024-11-30T23:53:07.662" v="32987" actId="20577"/>
          <ac:spMkLst>
            <pc:docMk/>
            <pc:sldMk cId="88160055" sldId="264"/>
            <ac:spMk id="23" creationId="{DDCB9A9B-E990-6AB8-D987-49F3A157F9C3}"/>
          </ac:spMkLst>
        </pc:spChg>
        <pc:spChg chg="add mod">
          <ac:chgData name="PJ Grant" userId="21cab94c-7745-4db5-aa88-56cdc0183ba7" providerId="ADAL" clId="{C8CD02E3-132B-40F3-B6A0-926652F128C7}" dt="2024-11-30T23:53:10.750" v="32994" actId="20577"/>
          <ac:spMkLst>
            <pc:docMk/>
            <pc:sldMk cId="88160055" sldId="264"/>
            <ac:spMk id="24" creationId="{5284B6DE-0B16-D287-9E8A-1417436B50B8}"/>
          </ac:spMkLst>
        </pc:spChg>
        <pc:cxnChg chg="add mod">
          <ac:chgData name="PJ Grant" userId="21cab94c-7745-4db5-aa88-56cdc0183ba7" providerId="ADAL" clId="{C8CD02E3-132B-40F3-B6A0-926652F128C7}" dt="2024-11-30T23:55:29.651" v="33094" actId="14100"/>
          <ac:cxnSpMkLst>
            <pc:docMk/>
            <pc:sldMk cId="88160055" sldId="264"/>
            <ac:cxnSpMk id="12" creationId="{ED4F7FE9-BE1D-7CC5-5719-720E7E85DB7A}"/>
          </ac:cxnSpMkLst>
        </pc:cxnChg>
      </pc:sldChg>
      <pc:sldChg chg="addSp delSp modSp add mod">
        <pc:chgData name="PJ Grant" userId="21cab94c-7745-4db5-aa88-56cdc0183ba7" providerId="ADAL" clId="{C8CD02E3-132B-40F3-B6A0-926652F128C7}" dt="2024-12-01T01:21:19.216" v="38195" actId="255"/>
        <pc:sldMkLst>
          <pc:docMk/>
          <pc:sldMk cId="1670414324" sldId="265"/>
        </pc:sldMkLst>
        <pc:spChg chg="mod ord">
          <ac:chgData name="PJ Grant" userId="21cab94c-7745-4db5-aa88-56cdc0183ba7" providerId="ADAL" clId="{C8CD02E3-132B-40F3-B6A0-926652F128C7}" dt="2024-11-30T22:59:36.386" v="23637"/>
          <ac:spMkLst>
            <pc:docMk/>
            <pc:sldMk cId="1670414324" sldId="265"/>
            <ac:spMk id="2" creationId="{10DDC413-E254-02EE-525D-EC7AB0AEB49E}"/>
          </ac:spMkLst>
        </pc:spChg>
        <pc:spChg chg="mod ord">
          <ac:chgData name="PJ Grant" userId="21cab94c-7745-4db5-aa88-56cdc0183ba7" providerId="ADAL" clId="{C8CD02E3-132B-40F3-B6A0-926652F128C7}" dt="2024-12-01T00:56:25.204" v="36758" actId="948"/>
          <ac:spMkLst>
            <pc:docMk/>
            <pc:sldMk cId="1670414324" sldId="265"/>
            <ac:spMk id="3" creationId="{972E4D7E-28B6-44C2-B738-3BC0F92BE925}"/>
          </ac:spMkLst>
        </pc:spChg>
        <pc:spChg chg="add mod ord">
          <ac:chgData name="PJ Grant" userId="21cab94c-7745-4db5-aa88-56cdc0183ba7" providerId="ADAL" clId="{C8CD02E3-132B-40F3-B6A0-926652F128C7}" dt="2024-11-30T23:02:47.614" v="23812" actId="1035"/>
          <ac:spMkLst>
            <pc:docMk/>
            <pc:sldMk cId="1670414324" sldId="265"/>
            <ac:spMk id="4" creationId="{11E78725-9243-CD9F-E558-E08F50E468B8}"/>
          </ac:spMkLst>
        </pc:spChg>
        <pc:spChg chg="add mod ord">
          <ac:chgData name="PJ Grant" userId="21cab94c-7745-4db5-aa88-56cdc0183ba7" providerId="ADAL" clId="{C8CD02E3-132B-40F3-B6A0-926652F128C7}" dt="2024-11-30T23:02:47.614" v="23812" actId="1035"/>
          <ac:spMkLst>
            <pc:docMk/>
            <pc:sldMk cId="1670414324" sldId="265"/>
            <ac:spMk id="6" creationId="{1363383E-1595-1C38-029F-0899D1A63C91}"/>
          </ac:spMkLst>
        </pc:spChg>
        <pc:spChg chg="add del mod modVis">
          <ac:chgData name="PJ Grant" userId="21cab94c-7745-4db5-aa88-56cdc0183ba7" providerId="ADAL" clId="{C8CD02E3-132B-40F3-B6A0-926652F128C7}" dt="2024-11-30T22:45:05.791" v="10611"/>
          <ac:spMkLst>
            <pc:docMk/>
            <pc:sldMk cId="1670414324" sldId="265"/>
            <ac:spMk id="7" creationId="{DAD1D87A-9BFD-6391-08E7-831F17B478D6}"/>
          </ac:spMkLst>
        </pc:spChg>
        <pc:spChg chg="mod ord">
          <ac:chgData name="PJ Grant" userId="21cab94c-7745-4db5-aa88-56cdc0183ba7" providerId="ADAL" clId="{C8CD02E3-132B-40F3-B6A0-926652F128C7}" dt="2024-11-30T22:59:36.387" v="23641"/>
          <ac:spMkLst>
            <pc:docMk/>
            <pc:sldMk cId="1670414324" sldId="265"/>
            <ac:spMk id="9" creationId="{415DC22D-B70E-0FE6-10D3-47F75D6FCED1}"/>
          </ac:spMkLst>
        </pc:spChg>
        <pc:spChg chg="mod ord">
          <ac:chgData name="PJ Grant" userId="21cab94c-7745-4db5-aa88-56cdc0183ba7" providerId="ADAL" clId="{C8CD02E3-132B-40F3-B6A0-926652F128C7}" dt="2024-11-30T22:59:36.388" v="23643"/>
          <ac:spMkLst>
            <pc:docMk/>
            <pc:sldMk cId="1670414324" sldId="265"/>
            <ac:spMk id="10" creationId="{7777717E-AA49-652E-F31B-D42CC476288D}"/>
          </ac:spMkLst>
        </pc:spChg>
        <pc:spChg chg="mod ord">
          <ac:chgData name="PJ Grant" userId="21cab94c-7745-4db5-aa88-56cdc0183ba7" providerId="ADAL" clId="{C8CD02E3-132B-40F3-B6A0-926652F128C7}" dt="2024-12-01T00:59:19.350" v="36779" actId="20577"/>
          <ac:spMkLst>
            <pc:docMk/>
            <pc:sldMk cId="1670414324" sldId="265"/>
            <ac:spMk id="12" creationId="{0B3BB85F-304D-048F-FEFE-E20E30114A56}"/>
          </ac:spMkLst>
        </pc:spChg>
        <pc:spChg chg="add del mod modVis">
          <ac:chgData name="PJ Grant" userId="21cab94c-7745-4db5-aa88-56cdc0183ba7" providerId="ADAL" clId="{C8CD02E3-132B-40F3-B6A0-926652F128C7}" dt="2024-11-30T22:45:08.254" v="10704"/>
          <ac:spMkLst>
            <pc:docMk/>
            <pc:sldMk cId="1670414324" sldId="265"/>
            <ac:spMk id="13" creationId="{EFDC8A0A-6733-BAE6-4917-8A6821FFCC92}"/>
          </ac:spMkLst>
        </pc:spChg>
        <pc:spChg chg="add mod">
          <ac:chgData name="PJ Grant" userId="21cab94c-7745-4db5-aa88-56cdc0183ba7" providerId="ADAL" clId="{C8CD02E3-132B-40F3-B6A0-926652F128C7}" dt="2024-11-30T22:59:36.390" v="23652"/>
          <ac:spMkLst>
            <pc:docMk/>
            <pc:sldMk cId="1670414324" sldId="265"/>
            <ac:spMk id="15" creationId="{E61993C4-37D3-EF29-19C8-294E863B0EC9}"/>
          </ac:spMkLst>
        </pc:spChg>
        <pc:spChg chg="add del mod modVis">
          <ac:chgData name="PJ Grant" userId="21cab94c-7745-4db5-aa88-56cdc0183ba7" providerId="ADAL" clId="{C8CD02E3-132B-40F3-B6A0-926652F128C7}" dt="2024-11-30T22:45:12.108" v="10807"/>
          <ac:spMkLst>
            <pc:docMk/>
            <pc:sldMk cId="1670414324" sldId="265"/>
            <ac:spMk id="16" creationId="{38AA1056-3709-6001-E4BB-BAF8BD79684D}"/>
          </ac:spMkLst>
        </pc:spChg>
        <pc:spChg chg="add mod">
          <ac:chgData name="PJ Grant" userId="21cab94c-7745-4db5-aa88-56cdc0183ba7" providerId="ADAL" clId="{C8CD02E3-132B-40F3-B6A0-926652F128C7}" dt="2024-11-30T22:59:36.390" v="23653"/>
          <ac:spMkLst>
            <pc:docMk/>
            <pc:sldMk cId="1670414324" sldId="265"/>
            <ac:spMk id="18" creationId="{14BFBD43-C408-993B-19E6-CDD90DC67D46}"/>
          </ac:spMkLst>
        </pc:spChg>
        <pc:spChg chg="add del mod modVis">
          <ac:chgData name="PJ Grant" userId="21cab94c-7745-4db5-aa88-56cdc0183ba7" providerId="ADAL" clId="{C8CD02E3-132B-40F3-B6A0-926652F128C7}" dt="2024-11-30T22:45:13.330" v="10914"/>
          <ac:spMkLst>
            <pc:docMk/>
            <pc:sldMk cId="1670414324" sldId="265"/>
            <ac:spMk id="19" creationId="{96BD9AB2-33E6-0220-444D-167C9A4818B7}"/>
          </ac:spMkLst>
        </pc:spChg>
        <pc:spChg chg="add del mod modVis">
          <ac:chgData name="PJ Grant" userId="21cab94c-7745-4db5-aa88-56cdc0183ba7" providerId="ADAL" clId="{C8CD02E3-132B-40F3-B6A0-926652F128C7}" dt="2024-11-30T22:45:48.991" v="11329"/>
          <ac:spMkLst>
            <pc:docMk/>
            <pc:sldMk cId="1670414324" sldId="265"/>
            <ac:spMk id="24" creationId="{713A3DE4-0718-93D3-06E4-4522F6E063DB}"/>
          </ac:spMkLst>
        </pc:spChg>
        <pc:spChg chg="add mod">
          <ac:chgData name="PJ Grant" userId="21cab94c-7745-4db5-aa88-56cdc0183ba7" providerId="ADAL" clId="{C8CD02E3-132B-40F3-B6A0-926652F128C7}" dt="2024-11-30T22:59:36.389" v="23650"/>
          <ac:spMkLst>
            <pc:docMk/>
            <pc:sldMk cId="1670414324" sldId="265"/>
            <ac:spMk id="26" creationId="{E2A23C7D-0CDB-FA58-13AE-28DE04A27108}"/>
          </ac:spMkLst>
        </pc:spChg>
        <pc:spChg chg="add del mod modVis">
          <ac:chgData name="PJ Grant" userId="21cab94c-7745-4db5-aa88-56cdc0183ba7" providerId="ADAL" clId="{C8CD02E3-132B-40F3-B6A0-926652F128C7}" dt="2024-11-30T22:45:50.413" v="11504"/>
          <ac:spMkLst>
            <pc:docMk/>
            <pc:sldMk cId="1670414324" sldId="265"/>
            <ac:spMk id="27" creationId="{8B0FFD10-FB49-3802-A316-E876CCD43E65}"/>
          </ac:spMkLst>
        </pc:spChg>
        <pc:spChg chg="add del mod modVis">
          <ac:chgData name="PJ Grant" userId="21cab94c-7745-4db5-aa88-56cdc0183ba7" providerId="ADAL" clId="{C8CD02E3-132B-40F3-B6A0-926652F128C7}" dt="2024-11-30T22:46:00.576" v="11715"/>
          <ac:spMkLst>
            <pc:docMk/>
            <pc:sldMk cId="1670414324" sldId="265"/>
            <ac:spMk id="31" creationId="{CD20ADD9-0349-E4E0-8118-05B3B40877DC}"/>
          </ac:spMkLst>
        </pc:spChg>
        <pc:spChg chg="add del mod">
          <ac:chgData name="PJ Grant" userId="21cab94c-7745-4db5-aa88-56cdc0183ba7" providerId="ADAL" clId="{C8CD02E3-132B-40F3-B6A0-926652F128C7}" dt="2024-11-30T22:47:40.556" v="12309"/>
          <ac:spMkLst>
            <pc:docMk/>
            <pc:sldMk cId="1670414324" sldId="265"/>
            <ac:spMk id="35" creationId="{6C6C18E8-5B0E-DA1D-D5E4-287CA800F518}"/>
          </ac:spMkLst>
        </pc:spChg>
        <pc:spChg chg="add del mod">
          <ac:chgData name="PJ Grant" userId="21cab94c-7745-4db5-aa88-56cdc0183ba7" providerId="ADAL" clId="{C8CD02E3-132B-40F3-B6A0-926652F128C7}" dt="2024-11-30T22:47:40.556" v="12308"/>
          <ac:spMkLst>
            <pc:docMk/>
            <pc:sldMk cId="1670414324" sldId="265"/>
            <ac:spMk id="36" creationId="{9828F933-8618-D362-206D-89D1ED86ECCD}"/>
          </ac:spMkLst>
        </pc:spChg>
        <pc:spChg chg="add del mod">
          <ac:chgData name="PJ Grant" userId="21cab94c-7745-4db5-aa88-56cdc0183ba7" providerId="ADAL" clId="{C8CD02E3-132B-40F3-B6A0-926652F128C7}" dt="2024-11-30T22:47:40.555" v="12307"/>
          <ac:spMkLst>
            <pc:docMk/>
            <pc:sldMk cId="1670414324" sldId="265"/>
            <ac:spMk id="37" creationId="{DF82FDBD-231F-224E-1575-B7425F4A3BE2}"/>
          </ac:spMkLst>
        </pc:spChg>
        <pc:spChg chg="add del mod">
          <ac:chgData name="PJ Grant" userId="21cab94c-7745-4db5-aa88-56cdc0183ba7" providerId="ADAL" clId="{C8CD02E3-132B-40F3-B6A0-926652F128C7}" dt="2024-11-30T22:47:40.557" v="12310"/>
          <ac:spMkLst>
            <pc:docMk/>
            <pc:sldMk cId="1670414324" sldId="265"/>
            <ac:spMk id="38" creationId="{5776D67E-3ED8-D441-B2D7-57354AE5DBF0}"/>
          </ac:spMkLst>
        </pc:spChg>
        <pc:spChg chg="add del mod ord">
          <ac:chgData name="PJ Grant" userId="21cab94c-7745-4db5-aa88-56cdc0183ba7" providerId="ADAL" clId="{C8CD02E3-132B-40F3-B6A0-926652F128C7}" dt="2024-11-30T22:47:40.554" v="12305"/>
          <ac:spMkLst>
            <pc:docMk/>
            <pc:sldMk cId="1670414324" sldId="265"/>
            <ac:spMk id="39" creationId="{2BAA1F14-385F-4781-0C26-70967B513D70}"/>
          </ac:spMkLst>
        </pc:spChg>
        <pc:spChg chg="add del mod">
          <ac:chgData name="PJ Grant" userId="21cab94c-7745-4db5-aa88-56cdc0183ba7" providerId="ADAL" clId="{C8CD02E3-132B-40F3-B6A0-926652F128C7}" dt="2024-11-30T22:47:40.555" v="12306"/>
          <ac:spMkLst>
            <pc:docMk/>
            <pc:sldMk cId="1670414324" sldId="265"/>
            <ac:spMk id="40" creationId="{0A40DD14-69BD-A329-1F6D-B2D5DEDDC058}"/>
          </ac:spMkLst>
        </pc:spChg>
        <pc:spChg chg="add del mod modVis">
          <ac:chgData name="PJ Grant" userId="21cab94c-7745-4db5-aa88-56cdc0183ba7" providerId="ADAL" clId="{C8CD02E3-132B-40F3-B6A0-926652F128C7}" dt="2024-11-30T22:46:09.231" v="11986"/>
          <ac:spMkLst>
            <pc:docMk/>
            <pc:sldMk cId="1670414324" sldId="265"/>
            <ac:spMk id="41" creationId="{E31DA47A-18EF-14B8-9867-C289F3D450E6}"/>
          </ac:spMkLst>
        </pc:spChg>
        <pc:spChg chg="add del mod modVis">
          <ac:chgData name="PJ Grant" userId="21cab94c-7745-4db5-aa88-56cdc0183ba7" providerId="ADAL" clId="{C8CD02E3-132B-40F3-B6A0-926652F128C7}" dt="2024-11-30T22:47:05.157" v="12100"/>
          <ac:spMkLst>
            <pc:docMk/>
            <pc:sldMk cId="1670414324" sldId="265"/>
            <ac:spMk id="43" creationId="{F1618E7E-D5EB-8030-33F5-FA97DDA7481B}"/>
          </ac:spMkLst>
        </pc:spChg>
        <pc:spChg chg="add del mod">
          <ac:chgData name="PJ Grant" userId="21cab94c-7745-4db5-aa88-56cdc0183ba7" providerId="ADAL" clId="{C8CD02E3-132B-40F3-B6A0-926652F128C7}" dt="2024-11-30T22:55:16.662" v="18065"/>
          <ac:spMkLst>
            <pc:docMk/>
            <pc:sldMk cId="1670414324" sldId="265"/>
            <ac:spMk id="50" creationId="{F410E09D-8FE7-3D46-4494-05C34D64D569}"/>
          </ac:spMkLst>
        </pc:spChg>
        <pc:spChg chg="add del mod">
          <ac:chgData name="PJ Grant" userId="21cab94c-7745-4db5-aa88-56cdc0183ba7" providerId="ADAL" clId="{C8CD02E3-132B-40F3-B6A0-926652F128C7}" dt="2024-11-30T22:55:16.661" v="18064"/>
          <ac:spMkLst>
            <pc:docMk/>
            <pc:sldMk cId="1670414324" sldId="265"/>
            <ac:spMk id="51" creationId="{3C32EE3A-8201-2B55-8591-D8C137448108}"/>
          </ac:spMkLst>
        </pc:spChg>
        <pc:spChg chg="add del mod">
          <ac:chgData name="PJ Grant" userId="21cab94c-7745-4db5-aa88-56cdc0183ba7" providerId="ADAL" clId="{C8CD02E3-132B-40F3-B6A0-926652F128C7}" dt="2024-11-30T22:55:16.659" v="18063"/>
          <ac:spMkLst>
            <pc:docMk/>
            <pc:sldMk cId="1670414324" sldId="265"/>
            <ac:spMk id="52" creationId="{20861FA9-D823-8ED6-979E-0B6A8FE2CE5D}"/>
          </ac:spMkLst>
        </pc:spChg>
        <pc:spChg chg="add del mod">
          <ac:chgData name="PJ Grant" userId="21cab94c-7745-4db5-aa88-56cdc0183ba7" providerId="ADAL" clId="{C8CD02E3-132B-40F3-B6A0-926652F128C7}" dt="2024-11-30T22:55:16.662" v="18066"/>
          <ac:spMkLst>
            <pc:docMk/>
            <pc:sldMk cId="1670414324" sldId="265"/>
            <ac:spMk id="53" creationId="{2C6AF0CB-3514-8174-3225-2B78EA8E5D8B}"/>
          </ac:spMkLst>
        </pc:spChg>
        <pc:spChg chg="add del mod modVis">
          <ac:chgData name="PJ Grant" userId="21cab94c-7745-4db5-aa88-56cdc0183ba7" providerId="ADAL" clId="{C8CD02E3-132B-40F3-B6A0-926652F128C7}" dt="2024-11-30T22:47:54.948" v="12500"/>
          <ac:spMkLst>
            <pc:docMk/>
            <pc:sldMk cId="1670414324" sldId="265"/>
            <ac:spMk id="54" creationId="{B19A888D-D65D-37B3-EEA7-6D6934074BC4}"/>
          </ac:spMkLst>
        </pc:spChg>
        <pc:spChg chg="add del mod modVis">
          <ac:chgData name="PJ Grant" userId="21cab94c-7745-4db5-aa88-56cdc0183ba7" providerId="ADAL" clId="{C8CD02E3-132B-40F3-B6A0-926652F128C7}" dt="2024-11-30T22:49:39.407" v="12703"/>
          <ac:spMkLst>
            <pc:docMk/>
            <pc:sldMk cId="1670414324" sldId="265"/>
            <ac:spMk id="57" creationId="{C6E60746-200A-C0F3-275F-06AB11B809F9}"/>
          </ac:spMkLst>
        </pc:spChg>
        <pc:spChg chg="add del mod modVis">
          <ac:chgData name="PJ Grant" userId="21cab94c-7745-4db5-aa88-56cdc0183ba7" providerId="ADAL" clId="{C8CD02E3-132B-40F3-B6A0-926652F128C7}" dt="2024-11-30T22:49:42.070" v="12818"/>
          <ac:spMkLst>
            <pc:docMk/>
            <pc:sldMk cId="1670414324" sldId="265"/>
            <ac:spMk id="60" creationId="{7C4BF329-8CB2-9D3E-71C4-E73FF9E4F853}"/>
          </ac:spMkLst>
        </pc:spChg>
        <pc:spChg chg="add del mod modVis">
          <ac:chgData name="PJ Grant" userId="21cab94c-7745-4db5-aa88-56cdc0183ba7" providerId="ADAL" clId="{C8CD02E3-132B-40F3-B6A0-926652F128C7}" dt="2024-11-30T22:49:44.416" v="12925"/>
          <ac:spMkLst>
            <pc:docMk/>
            <pc:sldMk cId="1670414324" sldId="265"/>
            <ac:spMk id="62" creationId="{782929E3-AB48-A5E2-14BC-54D65C90BAF3}"/>
          </ac:spMkLst>
        </pc:spChg>
        <pc:spChg chg="add del mod ord">
          <ac:chgData name="PJ Grant" userId="21cab94c-7745-4db5-aa88-56cdc0183ba7" providerId="ADAL" clId="{C8CD02E3-132B-40F3-B6A0-926652F128C7}" dt="2024-11-30T22:55:12.495" v="18057" actId="478"/>
          <ac:spMkLst>
            <pc:docMk/>
            <pc:sldMk cId="1670414324" sldId="265"/>
            <ac:spMk id="66" creationId="{0F9742A0-DECB-E373-973F-D49101CB36A7}"/>
          </ac:spMkLst>
        </pc:spChg>
        <pc:spChg chg="add del mod">
          <ac:chgData name="PJ Grant" userId="21cab94c-7745-4db5-aa88-56cdc0183ba7" providerId="ADAL" clId="{C8CD02E3-132B-40F3-B6A0-926652F128C7}" dt="2024-11-30T22:51:36.707" v="13026" actId="478"/>
          <ac:spMkLst>
            <pc:docMk/>
            <pc:sldMk cId="1670414324" sldId="265"/>
            <ac:spMk id="67" creationId="{EBEA766B-1116-17EC-54DA-601014200217}"/>
          </ac:spMkLst>
        </pc:spChg>
        <pc:spChg chg="add del mod ord">
          <ac:chgData name="PJ Grant" userId="21cab94c-7745-4db5-aa88-56cdc0183ba7" providerId="ADAL" clId="{C8CD02E3-132B-40F3-B6A0-926652F128C7}" dt="2024-11-30T22:53:41.221" v="15648" actId="478"/>
          <ac:spMkLst>
            <pc:docMk/>
            <pc:sldMk cId="1670414324" sldId="265"/>
            <ac:spMk id="68" creationId="{E0EEA0A2-6A46-0091-B869-37DDF1DD2E16}"/>
          </ac:spMkLst>
        </pc:spChg>
        <pc:spChg chg="add del mod ord">
          <ac:chgData name="PJ Grant" userId="21cab94c-7745-4db5-aa88-56cdc0183ba7" providerId="ADAL" clId="{C8CD02E3-132B-40F3-B6A0-926652F128C7}" dt="2024-11-30T22:52:10.655" v="13145" actId="478"/>
          <ac:spMkLst>
            <pc:docMk/>
            <pc:sldMk cId="1670414324" sldId="265"/>
            <ac:spMk id="69" creationId="{113C1E38-7429-DA2A-157B-B5F2BCA8DD84}"/>
          </ac:spMkLst>
        </pc:spChg>
        <pc:spChg chg="add del mod ord">
          <ac:chgData name="PJ Grant" userId="21cab94c-7745-4db5-aa88-56cdc0183ba7" providerId="ADAL" clId="{C8CD02E3-132B-40F3-B6A0-926652F128C7}" dt="2024-11-30T22:52:08.080" v="13144" actId="478"/>
          <ac:spMkLst>
            <pc:docMk/>
            <pc:sldMk cId="1670414324" sldId="265"/>
            <ac:spMk id="70" creationId="{ADA9EA39-791C-ED81-E772-CDF065755379}"/>
          </ac:spMkLst>
        </pc:spChg>
        <pc:spChg chg="add del mod ord">
          <ac:chgData name="PJ Grant" userId="21cab94c-7745-4db5-aa88-56cdc0183ba7" providerId="ADAL" clId="{C8CD02E3-132B-40F3-B6A0-926652F128C7}" dt="2024-11-30T22:52:08.080" v="13144" actId="478"/>
          <ac:spMkLst>
            <pc:docMk/>
            <pc:sldMk cId="1670414324" sldId="265"/>
            <ac:spMk id="71" creationId="{C1B4E9EB-DAB6-2F0F-55D5-ED4BF03B2E48}"/>
          </ac:spMkLst>
        </pc:spChg>
        <pc:spChg chg="add del mod modVis">
          <ac:chgData name="PJ Grant" userId="21cab94c-7745-4db5-aa88-56cdc0183ba7" providerId="ADAL" clId="{C8CD02E3-132B-40F3-B6A0-926652F128C7}" dt="2024-11-30T22:52:23.353" v="13297"/>
          <ac:spMkLst>
            <pc:docMk/>
            <pc:sldMk cId="1670414324" sldId="265"/>
            <ac:spMk id="73" creationId="{8BD1EB1F-CEA5-9691-93FA-B67C869AC15D}"/>
          </ac:spMkLst>
        </pc:spChg>
        <pc:spChg chg="add del mod">
          <ac:chgData name="PJ Grant" userId="21cab94c-7745-4db5-aa88-56cdc0183ba7" providerId="ADAL" clId="{C8CD02E3-132B-40F3-B6A0-926652F128C7}" dt="2024-11-30T22:54:41.892" v="15781"/>
          <ac:spMkLst>
            <pc:docMk/>
            <pc:sldMk cId="1670414324" sldId="265"/>
            <ac:spMk id="75" creationId="{5B6CC950-3BEF-5DC0-7382-6478FBBC82D8}"/>
          </ac:spMkLst>
        </pc:spChg>
        <pc:spChg chg="add del mod modVis">
          <ac:chgData name="PJ Grant" userId="21cab94c-7745-4db5-aa88-56cdc0183ba7" providerId="ADAL" clId="{C8CD02E3-132B-40F3-B6A0-926652F128C7}" dt="2024-11-30T22:52:33.594" v="13466"/>
          <ac:spMkLst>
            <pc:docMk/>
            <pc:sldMk cId="1670414324" sldId="265"/>
            <ac:spMk id="76" creationId="{FB69436E-BBFD-6A37-4763-30BE2DA7EECB}"/>
          </ac:spMkLst>
        </pc:spChg>
        <pc:spChg chg="add del mod ord">
          <ac:chgData name="PJ Grant" userId="21cab94c-7745-4db5-aa88-56cdc0183ba7" providerId="ADAL" clId="{C8CD02E3-132B-40F3-B6A0-926652F128C7}" dt="2024-11-30T22:54:41.891" v="15780"/>
          <ac:spMkLst>
            <pc:docMk/>
            <pc:sldMk cId="1670414324" sldId="265"/>
            <ac:spMk id="78" creationId="{D64D3405-4457-8FEF-DED7-0E8D0BA1C011}"/>
          </ac:spMkLst>
        </pc:spChg>
        <pc:spChg chg="add del mod modVis">
          <ac:chgData name="PJ Grant" userId="21cab94c-7745-4db5-aa88-56cdc0183ba7" providerId="ADAL" clId="{C8CD02E3-132B-40F3-B6A0-926652F128C7}" dt="2024-11-30T22:52:47.434" v="13566"/>
          <ac:spMkLst>
            <pc:docMk/>
            <pc:sldMk cId="1670414324" sldId="265"/>
            <ac:spMk id="79" creationId="{862B546B-C4B2-1044-423E-B5B9CFD00A68}"/>
          </ac:spMkLst>
        </pc:spChg>
        <pc:spChg chg="add del mod modVis">
          <ac:chgData name="PJ Grant" userId="21cab94c-7745-4db5-aa88-56cdc0183ba7" providerId="ADAL" clId="{C8CD02E3-132B-40F3-B6A0-926652F128C7}" dt="2024-11-30T22:53:08.539" v="13665"/>
          <ac:spMkLst>
            <pc:docMk/>
            <pc:sldMk cId="1670414324" sldId="265"/>
            <ac:spMk id="81" creationId="{446F66DA-92BB-3231-BF78-2DD34787562D}"/>
          </ac:spMkLst>
        </pc:spChg>
        <pc:spChg chg="add del mod modVis">
          <ac:chgData name="PJ Grant" userId="21cab94c-7745-4db5-aa88-56cdc0183ba7" providerId="ADAL" clId="{C8CD02E3-132B-40F3-B6A0-926652F128C7}" dt="2024-11-30T22:53:10.423" v="13823"/>
          <ac:spMkLst>
            <pc:docMk/>
            <pc:sldMk cId="1670414324" sldId="265"/>
            <ac:spMk id="83" creationId="{3448E968-D3DD-3597-709C-FDFE5AEB9F8A}"/>
          </ac:spMkLst>
        </pc:spChg>
        <pc:spChg chg="add del mod">
          <ac:chgData name="PJ Grant" userId="21cab94c-7745-4db5-aa88-56cdc0183ba7" providerId="ADAL" clId="{C8CD02E3-132B-40F3-B6A0-926652F128C7}" dt="2024-11-30T22:53:13.409" v="14062"/>
          <ac:spMkLst>
            <pc:docMk/>
            <pc:sldMk cId="1670414324" sldId="265"/>
            <ac:spMk id="84" creationId="{87B7A504-2578-13AD-9433-C5856BBE6174}"/>
          </ac:spMkLst>
        </pc:spChg>
        <pc:spChg chg="add del mod modVis">
          <ac:chgData name="PJ Grant" userId="21cab94c-7745-4db5-aa88-56cdc0183ba7" providerId="ADAL" clId="{C8CD02E3-132B-40F3-B6A0-926652F128C7}" dt="2024-11-30T22:53:11.341" v="13922"/>
          <ac:spMkLst>
            <pc:docMk/>
            <pc:sldMk cId="1670414324" sldId="265"/>
            <ac:spMk id="86" creationId="{B412BE95-D2CE-8F45-7422-FC280A60E67C}"/>
          </ac:spMkLst>
        </pc:spChg>
        <pc:spChg chg="add del mod modVis">
          <ac:chgData name="PJ Grant" userId="21cab94c-7745-4db5-aa88-56cdc0183ba7" providerId="ADAL" clId="{C8CD02E3-132B-40F3-B6A0-926652F128C7}" dt="2024-11-30T22:53:12.444" v="14024"/>
          <ac:spMkLst>
            <pc:docMk/>
            <pc:sldMk cId="1670414324" sldId="265"/>
            <ac:spMk id="88" creationId="{0B5942C3-4723-5678-1241-D4DA2F113EA5}"/>
          </ac:spMkLst>
        </pc:spChg>
        <pc:spChg chg="add del mod modVis">
          <ac:chgData name="PJ Grant" userId="21cab94c-7745-4db5-aa88-56cdc0183ba7" providerId="ADAL" clId="{C8CD02E3-132B-40F3-B6A0-926652F128C7}" dt="2024-11-30T22:53:13.455" v="14123"/>
          <ac:spMkLst>
            <pc:docMk/>
            <pc:sldMk cId="1670414324" sldId="265"/>
            <ac:spMk id="90" creationId="{754A2165-0448-1DD2-E8CB-E033452929AB}"/>
          </ac:spMkLst>
        </pc:spChg>
        <pc:spChg chg="add del mod modVis">
          <ac:chgData name="PJ Grant" userId="21cab94c-7745-4db5-aa88-56cdc0183ba7" providerId="ADAL" clId="{C8CD02E3-132B-40F3-B6A0-926652F128C7}" dt="2024-11-30T22:53:18.914" v="14228"/>
          <ac:spMkLst>
            <pc:docMk/>
            <pc:sldMk cId="1670414324" sldId="265"/>
            <ac:spMk id="92" creationId="{2C6837BC-49B9-24E5-A52F-4673458777FE}"/>
          </ac:spMkLst>
        </pc:spChg>
        <pc:spChg chg="add del mod modVis">
          <ac:chgData name="PJ Grant" userId="21cab94c-7745-4db5-aa88-56cdc0183ba7" providerId="ADAL" clId="{C8CD02E3-132B-40F3-B6A0-926652F128C7}" dt="2024-11-30T22:53:20.805" v="14333"/>
          <ac:spMkLst>
            <pc:docMk/>
            <pc:sldMk cId="1670414324" sldId="265"/>
            <ac:spMk id="94" creationId="{C3CC4F4F-E7D9-E351-54A8-28A127BE1CCC}"/>
          </ac:spMkLst>
        </pc:spChg>
        <pc:spChg chg="add del mod modVis">
          <ac:chgData name="PJ Grant" userId="21cab94c-7745-4db5-aa88-56cdc0183ba7" providerId="ADAL" clId="{C8CD02E3-132B-40F3-B6A0-926652F128C7}" dt="2024-11-30T22:53:22.621" v="14704"/>
          <ac:spMkLst>
            <pc:docMk/>
            <pc:sldMk cId="1670414324" sldId="265"/>
            <ac:spMk id="96" creationId="{A05F2394-7481-FAB5-4AC3-68FD96F85EEA}"/>
          </ac:spMkLst>
        </pc:spChg>
        <pc:spChg chg="add del mod">
          <ac:chgData name="PJ Grant" userId="21cab94c-7745-4db5-aa88-56cdc0183ba7" providerId="ADAL" clId="{C8CD02E3-132B-40F3-B6A0-926652F128C7}" dt="2024-11-30T22:53:23.548" v="14750"/>
          <ac:spMkLst>
            <pc:docMk/>
            <pc:sldMk cId="1670414324" sldId="265"/>
            <ac:spMk id="97" creationId="{9FB8A36B-C2AD-9E76-F7E1-84736FA9100F}"/>
          </ac:spMkLst>
        </pc:spChg>
        <pc:spChg chg="add del mod">
          <ac:chgData name="PJ Grant" userId="21cab94c-7745-4db5-aa88-56cdc0183ba7" providerId="ADAL" clId="{C8CD02E3-132B-40F3-B6A0-926652F128C7}" dt="2024-11-30T22:53:23.548" v="14751"/>
          <ac:spMkLst>
            <pc:docMk/>
            <pc:sldMk cId="1670414324" sldId="265"/>
            <ac:spMk id="98" creationId="{2E2BF57F-EEF0-4F1A-295A-B7F9D6E8B872}"/>
          </ac:spMkLst>
        </pc:spChg>
        <pc:spChg chg="add del mod">
          <ac:chgData name="PJ Grant" userId="21cab94c-7745-4db5-aa88-56cdc0183ba7" providerId="ADAL" clId="{C8CD02E3-132B-40F3-B6A0-926652F128C7}" dt="2024-11-30T22:53:23.549" v="14752"/>
          <ac:spMkLst>
            <pc:docMk/>
            <pc:sldMk cId="1670414324" sldId="265"/>
            <ac:spMk id="99" creationId="{0374CCD0-CF14-EB52-3042-1812D9B003E4}"/>
          </ac:spMkLst>
        </pc:spChg>
        <pc:spChg chg="add del mod">
          <ac:chgData name="PJ Grant" userId="21cab94c-7745-4db5-aa88-56cdc0183ba7" providerId="ADAL" clId="{C8CD02E3-132B-40F3-B6A0-926652F128C7}" dt="2024-11-30T22:53:23.549" v="14753"/>
          <ac:spMkLst>
            <pc:docMk/>
            <pc:sldMk cId="1670414324" sldId="265"/>
            <ac:spMk id="100" creationId="{4D7F6562-8DA3-BE0D-7A9E-561394EF6F5E}"/>
          </ac:spMkLst>
        </pc:spChg>
        <pc:spChg chg="add del mod">
          <ac:chgData name="PJ Grant" userId="21cab94c-7745-4db5-aa88-56cdc0183ba7" providerId="ADAL" clId="{C8CD02E3-132B-40F3-B6A0-926652F128C7}" dt="2024-11-30T22:53:23.550" v="14754"/>
          <ac:spMkLst>
            <pc:docMk/>
            <pc:sldMk cId="1670414324" sldId="265"/>
            <ac:spMk id="101" creationId="{ED34B131-27F5-AD52-B01E-79B383AA54F5}"/>
          </ac:spMkLst>
        </pc:spChg>
        <pc:spChg chg="add del mod">
          <ac:chgData name="PJ Grant" userId="21cab94c-7745-4db5-aa88-56cdc0183ba7" providerId="ADAL" clId="{C8CD02E3-132B-40F3-B6A0-926652F128C7}" dt="2024-11-30T22:53:23.550" v="14755"/>
          <ac:spMkLst>
            <pc:docMk/>
            <pc:sldMk cId="1670414324" sldId="265"/>
            <ac:spMk id="102" creationId="{048E2389-3D98-CA14-3FFB-AE1E13FAB5B0}"/>
          </ac:spMkLst>
        </pc:spChg>
        <pc:spChg chg="add del mod modVis">
          <ac:chgData name="PJ Grant" userId="21cab94c-7745-4db5-aa88-56cdc0183ba7" providerId="ADAL" clId="{C8CD02E3-132B-40F3-B6A0-926652F128C7}" dt="2024-11-30T22:53:23.605" v="14813"/>
          <ac:spMkLst>
            <pc:docMk/>
            <pc:sldMk cId="1670414324" sldId="265"/>
            <ac:spMk id="104" creationId="{5288093A-4A21-8A84-9C45-1AF1E255A1A0}"/>
          </ac:spMkLst>
        </pc:spChg>
        <pc:spChg chg="add del mod modVis">
          <ac:chgData name="PJ Grant" userId="21cab94c-7745-4db5-aa88-56cdc0183ba7" providerId="ADAL" clId="{C8CD02E3-132B-40F3-B6A0-926652F128C7}" dt="2024-11-30T22:53:25.690" v="15194"/>
          <ac:spMkLst>
            <pc:docMk/>
            <pc:sldMk cId="1670414324" sldId="265"/>
            <ac:spMk id="106" creationId="{79964735-4F2B-DFD4-5ECB-8E642090DE32}"/>
          </ac:spMkLst>
        </pc:spChg>
        <pc:spChg chg="del mod">
          <ac:chgData name="PJ Grant" userId="21cab94c-7745-4db5-aa88-56cdc0183ba7" providerId="ADAL" clId="{C8CD02E3-132B-40F3-B6A0-926652F128C7}" dt="2024-11-30T22:45:47.274" v="11111"/>
          <ac:spMkLst>
            <pc:docMk/>
            <pc:sldMk cId="1670414324" sldId="265"/>
            <ac:spMk id="107" creationId="{9E2E0585-FB10-D5D6-ED99-849FF11457C7}"/>
          </ac:spMkLst>
        </pc:spChg>
        <pc:spChg chg="add del mod">
          <ac:chgData name="PJ Grant" userId="21cab94c-7745-4db5-aa88-56cdc0183ba7" providerId="ADAL" clId="{C8CD02E3-132B-40F3-B6A0-926652F128C7}" dt="2024-11-30T22:56:55.925" v="22588"/>
          <ac:spMkLst>
            <pc:docMk/>
            <pc:sldMk cId="1670414324" sldId="265"/>
            <ac:spMk id="108" creationId="{CA9AFBA5-02C2-1EE0-80F0-76F583F94ED4}"/>
          </ac:spMkLst>
        </pc:spChg>
        <pc:spChg chg="del mod">
          <ac:chgData name="PJ Grant" userId="21cab94c-7745-4db5-aa88-56cdc0183ba7" providerId="ADAL" clId="{C8CD02E3-132B-40F3-B6A0-926652F128C7}" dt="2024-11-30T22:45:55.800" v="11576"/>
          <ac:spMkLst>
            <pc:docMk/>
            <pc:sldMk cId="1670414324" sldId="265"/>
            <ac:spMk id="109" creationId="{35C60439-557F-0073-8465-F78A498CE491}"/>
          </ac:spMkLst>
        </pc:spChg>
        <pc:spChg chg="del mod">
          <ac:chgData name="PJ Grant" userId="21cab94c-7745-4db5-aa88-56cdc0183ba7" providerId="ADAL" clId="{C8CD02E3-132B-40F3-B6A0-926652F128C7}" dt="2024-11-30T22:45:48.804" v="11198"/>
          <ac:spMkLst>
            <pc:docMk/>
            <pc:sldMk cId="1670414324" sldId="265"/>
            <ac:spMk id="110" creationId="{44C50F16-005F-53AF-B316-053819D2C5EC}"/>
          </ac:spMkLst>
        </pc:spChg>
        <pc:spChg chg="mod">
          <ac:chgData name="PJ Grant" userId="21cab94c-7745-4db5-aa88-56cdc0183ba7" providerId="ADAL" clId="{C8CD02E3-132B-40F3-B6A0-926652F128C7}" dt="2024-11-30T22:59:36.390" v="23651"/>
          <ac:spMkLst>
            <pc:docMk/>
            <pc:sldMk cId="1670414324" sldId="265"/>
            <ac:spMk id="111" creationId="{74BC18E6-D651-E7D3-B3AF-8CAE29F825E2}"/>
          </ac:spMkLst>
        </pc:spChg>
        <pc:spChg chg="add del mod">
          <ac:chgData name="PJ Grant" userId="21cab94c-7745-4db5-aa88-56cdc0183ba7" providerId="ADAL" clId="{C8CD02E3-132B-40F3-B6A0-926652F128C7}" dt="2024-11-30T22:54:41.954" v="15826"/>
          <ac:spMkLst>
            <pc:docMk/>
            <pc:sldMk cId="1670414324" sldId="265"/>
            <ac:spMk id="112" creationId="{137B7160-33DF-6E9D-B5F8-1B1D432F5BA8}"/>
          </ac:spMkLst>
        </pc:spChg>
        <pc:spChg chg="add del mod">
          <ac:chgData name="PJ Grant" userId="21cab94c-7745-4db5-aa88-56cdc0183ba7" providerId="ADAL" clId="{C8CD02E3-132B-40F3-B6A0-926652F128C7}" dt="2024-11-30T22:54:41.953" v="15825"/>
          <ac:spMkLst>
            <pc:docMk/>
            <pc:sldMk cId="1670414324" sldId="265"/>
            <ac:spMk id="113" creationId="{6A83FB0D-20FF-4E4D-0061-88B790E037B6}"/>
          </ac:spMkLst>
        </pc:spChg>
        <pc:spChg chg="del mod">
          <ac:chgData name="PJ Grant" userId="21cab94c-7745-4db5-aa88-56cdc0183ba7" providerId="ADAL" clId="{C8CD02E3-132B-40F3-B6A0-926652F128C7}" dt="2024-11-30T22:45:47.273" v="11110"/>
          <ac:spMkLst>
            <pc:docMk/>
            <pc:sldMk cId="1670414324" sldId="265"/>
            <ac:spMk id="114" creationId="{5107587B-2E84-AF2B-A52F-57E70FB4C2AC}"/>
          </ac:spMkLst>
        </pc:spChg>
        <pc:spChg chg="del mod ord">
          <ac:chgData name="PJ Grant" userId="21cab94c-7745-4db5-aa88-56cdc0183ba7" providerId="ADAL" clId="{C8CD02E3-132B-40F3-B6A0-926652F128C7}" dt="2024-11-30T22:45:55.799" v="11575"/>
          <ac:spMkLst>
            <pc:docMk/>
            <pc:sldMk cId="1670414324" sldId="265"/>
            <ac:spMk id="115" creationId="{FA58F73A-EF2C-7E47-D850-85627E03DEF3}"/>
          </ac:spMkLst>
        </pc:spChg>
        <pc:spChg chg="add del mod">
          <ac:chgData name="PJ Grant" userId="21cab94c-7745-4db5-aa88-56cdc0183ba7" providerId="ADAL" clId="{C8CD02E3-132B-40F3-B6A0-926652F128C7}" dt="2024-11-30T22:54:41.953" v="15824"/>
          <ac:spMkLst>
            <pc:docMk/>
            <pc:sldMk cId="1670414324" sldId="265"/>
            <ac:spMk id="116" creationId="{498BB4EB-7E89-9217-8D6F-8EC3FA1A2247}"/>
          </ac:spMkLst>
        </pc:spChg>
        <pc:spChg chg="add del mod">
          <ac:chgData name="PJ Grant" userId="21cab94c-7745-4db5-aa88-56cdc0183ba7" providerId="ADAL" clId="{C8CD02E3-132B-40F3-B6A0-926652F128C7}" dt="2024-11-30T22:54:41.953" v="15823"/>
          <ac:spMkLst>
            <pc:docMk/>
            <pc:sldMk cId="1670414324" sldId="265"/>
            <ac:spMk id="117" creationId="{AE3D6D97-2A24-D18E-9DE1-B4A6160DA99B}"/>
          </ac:spMkLst>
        </pc:spChg>
        <pc:spChg chg="add del mod">
          <ac:chgData name="PJ Grant" userId="21cab94c-7745-4db5-aa88-56cdc0183ba7" providerId="ADAL" clId="{C8CD02E3-132B-40F3-B6A0-926652F128C7}" dt="2024-11-30T22:54:41.953" v="15822"/>
          <ac:spMkLst>
            <pc:docMk/>
            <pc:sldMk cId="1670414324" sldId="265"/>
            <ac:spMk id="118" creationId="{875E19B1-DA0A-B55C-E6E8-0D2861C7708E}"/>
          </ac:spMkLst>
        </pc:spChg>
        <pc:spChg chg="add del mod modVis">
          <ac:chgData name="PJ Grant" userId="21cab94c-7745-4db5-aa88-56cdc0183ba7" providerId="ADAL" clId="{C8CD02E3-132B-40F3-B6A0-926652F128C7}" dt="2024-11-30T22:53:29.648" v="15387"/>
          <ac:spMkLst>
            <pc:docMk/>
            <pc:sldMk cId="1670414324" sldId="265"/>
            <ac:spMk id="120" creationId="{E5146C75-6A47-C42A-8314-4F75DF9BF779}"/>
          </ac:spMkLst>
        </pc:spChg>
        <pc:spChg chg="add del mod modVis">
          <ac:chgData name="PJ Grant" userId="21cab94c-7745-4db5-aa88-56cdc0183ba7" providerId="ADAL" clId="{C8CD02E3-132B-40F3-B6A0-926652F128C7}" dt="2024-11-30T22:53:31.623" v="15514"/>
          <ac:spMkLst>
            <pc:docMk/>
            <pc:sldMk cId="1670414324" sldId="265"/>
            <ac:spMk id="122" creationId="{2A1B4A59-B4E5-90D3-C6E2-83845DC5EEB6}"/>
          </ac:spMkLst>
        </pc:spChg>
        <pc:spChg chg="add del mod modVis">
          <ac:chgData name="PJ Grant" userId="21cab94c-7745-4db5-aa88-56cdc0183ba7" providerId="ADAL" clId="{C8CD02E3-132B-40F3-B6A0-926652F128C7}" dt="2024-11-30T22:53:36.147" v="15645"/>
          <ac:spMkLst>
            <pc:docMk/>
            <pc:sldMk cId="1670414324" sldId="265"/>
            <ac:spMk id="124" creationId="{8CA76444-2DEE-6F53-6216-F0F295046D09}"/>
          </ac:spMkLst>
        </pc:spChg>
        <pc:spChg chg="add del mod ord">
          <ac:chgData name="PJ Grant" userId="21cab94c-7745-4db5-aa88-56cdc0183ba7" providerId="ADAL" clId="{C8CD02E3-132B-40F3-B6A0-926652F128C7}" dt="2024-11-30T22:55:12.495" v="18057" actId="478"/>
          <ac:spMkLst>
            <pc:docMk/>
            <pc:sldMk cId="1670414324" sldId="265"/>
            <ac:spMk id="126" creationId="{44B0AD58-D861-3291-1832-3E3458AAA825}"/>
          </ac:spMkLst>
        </pc:spChg>
        <pc:spChg chg="del mod">
          <ac:chgData name="PJ Grant" userId="21cab94c-7745-4db5-aa88-56cdc0183ba7" providerId="ADAL" clId="{C8CD02E3-132B-40F3-B6A0-926652F128C7}" dt="2024-11-30T22:47:37.093" v="12245"/>
          <ac:spMkLst>
            <pc:docMk/>
            <pc:sldMk cId="1670414324" sldId="265"/>
            <ac:spMk id="127" creationId="{E04D687C-3C1F-0656-59B2-D22A0B33D42D}"/>
          </ac:spMkLst>
        </pc:spChg>
        <pc:spChg chg="del mod">
          <ac:chgData name="PJ Grant" userId="21cab94c-7745-4db5-aa88-56cdc0183ba7" providerId="ADAL" clId="{C8CD02E3-132B-40F3-B6A0-926652F128C7}" dt="2024-11-30T22:45:51.834" v="11509"/>
          <ac:spMkLst>
            <pc:docMk/>
            <pc:sldMk cId="1670414324" sldId="265"/>
            <ac:spMk id="128" creationId="{7B9A5D4C-054D-AC99-730E-683DA282571F}"/>
          </ac:spMkLst>
        </pc:spChg>
        <pc:spChg chg="add del mod modVis">
          <ac:chgData name="PJ Grant" userId="21cab94c-7745-4db5-aa88-56cdc0183ba7" providerId="ADAL" clId="{C8CD02E3-132B-40F3-B6A0-926652F128C7}" dt="2024-11-30T22:54:37.341" v="15776"/>
          <ac:spMkLst>
            <pc:docMk/>
            <pc:sldMk cId="1670414324" sldId="265"/>
            <ac:spMk id="129" creationId="{EFE2D897-A389-CC02-D8F0-FDC0C51BA913}"/>
          </ac:spMkLst>
        </pc:spChg>
        <pc:spChg chg="del mod ord">
          <ac:chgData name="PJ Grant" userId="21cab94c-7745-4db5-aa88-56cdc0183ba7" providerId="ADAL" clId="{C8CD02E3-132B-40F3-B6A0-926652F128C7}" dt="2024-11-30T22:47:37.093" v="12244"/>
          <ac:spMkLst>
            <pc:docMk/>
            <pc:sldMk cId="1670414324" sldId="265"/>
            <ac:spMk id="131" creationId="{88D046E1-6290-27E8-F94D-BFF334A70CFF}"/>
          </ac:spMkLst>
        </pc:spChg>
        <pc:spChg chg="del mod ord">
          <ac:chgData name="PJ Grant" userId="21cab94c-7745-4db5-aa88-56cdc0183ba7" providerId="ADAL" clId="{C8CD02E3-132B-40F3-B6A0-926652F128C7}" dt="2024-11-30T22:45:51.834" v="11508"/>
          <ac:spMkLst>
            <pc:docMk/>
            <pc:sldMk cId="1670414324" sldId="265"/>
            <ac:spMk id="132" creationId="{26FA0397-D03E-1012-C93E-689BCEDE1DF5}"/>
          </ac:spMkLst>
        </pc:spChg>
        <pc:spChg chg="add del mod modVis">
          <ac:chgData name="PJ Grant" userId="21cab94c-7745-4db5-aa88-56cdc0183ba7" providerId="ADAL" clId="{C8CD02E3-132B-40F3-B6A0-926652F128C7}" dt="2024-11-30T22:54:42.680" v="16389"/>
          <ac:spMkLst>
            <pc:docMk/>
            <pc:sldMk cId="1670414324" sldId="265"/>
            <ac:spMk id="133" creationId="{F64026AE-529B-E199-8A86-6507977DA547}"/>
          </ac:spMkLst>
        </pc:spChg>
        <pc:spChg chg="add del mod">
          <ac:chgData name="PJ Grant" userId="21cab94c-7745-4db5-aa88-56cdc0183ba7" providerId="ADAL" clId="{C8CD02E3-132B-40F3-B6A0-926652F128C7}" dt="2024-11-30T22:54:50.565" v="16499"/>
          <ac:spMkLst>
            <pc:docMk/>
            <pc:sldMk cId="1670414324" sldId="265"/>
            <ac:spMk id="134" creationId="{145600C4-5BEA-3A7B-693E-45A3B8DA4F18}"/>
          </ac:spMkLst>
        </pc:spChg>
        <pc:spChg chg="del mod">
          <ac:chgData name="PJ Grant" userId="21cab94c-7745-4db5-aa88-56cdc0183ba7" providerId="ADAL" clId="{C8CD02E3-132B-40F3-B6A0-926652F128C7}" dt="2024-11-30T22:45:38.550" v="10970"/>
          <ac:spMkLst>
            <pc:docMk/>
            <pc:sldMk cId="1670414324" sldId="265"/>
            <ac:spMk id="135" creationId="{B8492109-8A08-D62E-8EB6-AB8F1E008E46}"/>
          </ac:spMkLst>
        </pc:spChg>
        <pc:spChg chg="del mod">
          <ac:chgData name="PJ Grant" userId="21cab94c-7745-4db5-aa88-56cdc0183ba7" providerId="ADAL" clId="{C8CD02E3-132B-40F3-B6A0-926652F128C7}" dt="2024-11-30T22:45:38.549" v="10969"/>
          <ac:spMkLst>
            <pc:docMk/>
            <pc:sldMk cId="1670414324" sldId="265"/>
            <ac:spMk id="136" creationId="{53C92F2B-3BDC-2E1E-AE33-EB592D1DF919}"/>
          </ac:spMkLst>
        </pc:spChg>
        <pc:spChg chg="add del mod">
          <ac:chgData name="PJ Grant" userId="21cab94c-7745-4db5-aa88-56cdc0183ba7" providerId="ADAL" clId="{C8CD02E3-132B-40F3-B6A0-926652F128C7}" dt="2024-11-30T22:54:50.564" v="16498"/>
          <ac:spMkLst>
            <pc:docMk/>
            <pc:sldMk cId="1670414324" sldId="265"/>
            <ac:spMk id="137" creationId="{302CFCCC-B1E2-5654-92EA-BB8CEC0AD891}"/>
          </ac:spMkLst>
        </pc:spChg>
        <pc:spChg chg="add del mod">
          <ac:chgData name="PJ Grant" userId="21cab94c-7745-4db5-aa88-56cdc0183ba7" providerId="ADAL" clId="{C8CD02E3-132B-40F3-B6A0-926652F128C7}" dt="2024-11-30T22:54:50.564" v="16497"/>
          <ac:spMkLst>
            <pc:docMk/>
            <pc:sldMk cId="1670414324" sldId="265"/>
            <ac:spMk id="138" creationId="{48839755-158F-DB1B-8683-C776F33CE461}"/>
          </ac:spMkLst>
        </pc:spChg>
        <pc:spChg chg="add del mod">
          <ac:chgData name="PJ Grant" userId="21cab94c-7745-4db5-aa88-56cdc0183ba7" providerId="ADAL" clId="{C8CD02E3-132B-40F3-B6A0-926652F128C7}" dt="2024-11-30T22:54:50.563" v="16496"/>
          <ac:spMkLst>
            <pc:docMk/>
            <pc:sldMk cId="1670414324" sldId="265"/>
            <ac:spMk id="139" creationId="{A4753A0A-DF4F-0A75-B03E-515CD1E2B3D0}"/>
          </ac:spMkLst>
        </pc:spChg>
        <pc:spChg chg="add del mod">
          <ac:chgData name="PJ Grant" userId="21cab94c-7745-4db5-aa88-56cdc0183ba7" providerId="ADAL" clId="{C8CD02E3-132B-40F3-B6A0-926652F128C7}" dt="2024-11-30T22:54:50.562" v="16495"/>
          <ac:spMkLst>
            <pc:docMk/>
            <pc:sldMk cId="1670414324" sldId="265"/>
            <ac:spMk id="140" creationId="{4B160417-6FFB-C7FA-E7DA-EA3FDD5CF704}"/>
          </ac:spMkLst>
        </pc:spChg>
        <pc:spChg chg="add del mod">
          <ac:chgData name="PJ Grant" userId="21cab94c-7745-4db5-aa88-56cdc0183ba7" providerId="ADAL" clId="{C8CD02E3-132B-40F3-B6A0-926652F128C7}" dt="2024-11-30T22:54:50.562" v="16494"/>
          <ac:spMkLst>
            <pc:docMk/>
            <pc:sldMk cId="1670414324" sldId="265"/>
            <ac:spMk id="141" creationId="{73BCAA90-82B7-1C89-ACF5-278D50676584}"/>
          </ac:spMkLst>
        </pc:spChg>
        <pc:spChg chg="add del mod">
          <ac:chgData name="PJ Grant" userId="21cab94c-7745-4db5-aa88-56cdc0183ba7" providerId="ADAL" clId="{C8CD02E3-132B-40F3-B6A0-926652F128C7}" dt="2024-11-30T22:54:50.562" v="16493"/>
          <ac:spMkLst>
            <pc:docMk/>
            <pc:sldMk cId="1670414324" sldId="265"/>
            <ac:spMk id="142" creationId="{09AC5BD3-BD85-5730-1EF8-B9CE201CEB49}"/>
          </ac:spMkLst>
        </pc:spChg>
        <pc:spChg chg="add del mod">
          <ac:chgData name="PJ Grant" userId="21cab94c-7745-4db5-aa88-56cdc0183ba7" providerId="ADAL" clId="{C8CD02E3-132B-40F3-B6A0-926652F128C7}" dt="2024-11-30T22:54:50.562" v="16492"/>
          <ac:spMkLst>
            <pc:docMk/>
            <pc:sldMk cId="1670414324" sldId="265"/>
            <ac:spMk id="143" creationId="{429848E8-81F6-A9F5-CBCD-20C90F2EF875}"/>
          </ac:spMkLst>
        </pc:spChg>
        <pc:spChg chg="add del mod">
          <ac:chgData name="PJ Grant" userId="21cab94c-7745-4db5-aa88-56cdc0183ba7" providerId="ADAL" clId="{C8CD02E3-132B-40F3-B6A0-926652F128C7}" dt="2024-11-30T22:54:50.561" v="16491"/>
          <ac:spMkLst>
            <pc:docMk/>
            <pc:sldMk cId="1670414324" sldId="265"/>
            <ac:spMk id="144" creationId="{6FF4FE62-14E2-28E7-2182-6574E89D3404}"/>
          </ac:spMkLst>
        </pc:spChg>
        <pc:spChg chg="add del mod">
          <ac:chgData name="PJ Grant" userId="21cab94c-7745-4db5-aa88-56cdc0183ba7" providerId="ADAL" clId="{C8CD02E3-132B-40F3-B6A0-926652F128C7}" dt="2024-11-30T22:54:50.561" v="16490"/>
          <ac:spMkLst>
            <pc:docMk/>
            <pc:sldMk cId="1670414324" sldId="265"/>
            <ac:spMk id="145" creationId="{46918654-290E-44EC-0B07-F7756167A0CD}"/>
          </ac:spMkLst>
        </pc:spChg>
        <pc:spChg chg="mod ord">
          <ac:chgData name="PJ Grant" userId="21cab94c-7745-4db5-aa88-56cdc0183ba7" providerId="ADAL" clId="{C8CD02E3-132B-40F3-B6A0-926652F128C7}" dt="2024-11-30T23:03:43.365" v="23833" actId="14100"/>
          <ac:spMkLst>
            <pc:docMk/>
            <pc:sldMk cId="1670414324" sldId="265"/>
            <ac:spMk id="148" creationId="{90F351F7-0C3E-D777-3A23-61B0A5979DCA}"/>
          </ac:spMkLst>
        </pc:spChg>
        <pc:spChg chg="add mod">
          <ac:chgData name="PJ Grant" userId="21cab94c-7745-4db5-aa88-56cdc0183ba7" providerId="ADAL" clId="{C8CD02E3-132B-40F3-B6A0-926652F128C7}" dt="2024-12-01T00:56:25.203" v="36756"/>
          <ac:spMkLst>
            <pc:docMk/>
            <pc:sldMk cId="1670414324" sldId="265"/>
            <ac:spMk id="149" creationId="{60BC995C-74C2-2CE9-EFD5-3BB17D745C14}"/>
          </ac:spMkLst>
        </pc:spChg>
        <pc:spChg chg="add del mod modVis">
          <ac:chgData name="PJ Grant" userId="21cab94c-7745-4db5-aa88-56cdc0183ba7" providerId="ADAL" clId="{C8CD02E3-132B-40F3-B6A0-926652F128C7}" dt="2024-11-30T22:54:51.310" v="16875"/>
          <ac:spMkLst>
            <pc:docMk/>
            <pc:sldMk cId="1670414324" sldId="265"/>
            <ac:spMk id="151" creationId="{B74B7753-08DC-4675-9FBC-0F9DEA77B50F}"/>
          </ac:spMkLst>
        </pc:spChg>
        <pc:spChg chg="add mod">
          <ac:chgData name="PJ Grant" userId="21cab94c-7745-4db5-aa88-56cdc0183ba7" providerId="ADAL" clId="{C8CD02E3-132B-40F3-B6A0-926652F128C7}" dt="2024-12-01T00:56:25.204" v="36757"/>
          <ac:spMkLst>
            <pc:docMk/>
            <pc:sldMk cId="1670414324" sldId="265"/>
            <ac:spMk id="152" creationId="{B8955D64-985D-1178-722E-9B8DDDA65258}"/>
          </ac:spMkLst>
        </pc:spChg>
        <pc:spChg chg="add del mod">
          <ac:chgData name="PJ Grant" userId="21cab94c-7745-4db5-aa88-56cdc0183ba7" providerId="ADAL" clId="{C8CD02E3-132B-40F3-B6A0-926652F128C7}" dt="2024-11-30T22:54:57.100" v="16888"/>
          <ac:spMkLst>
            <pc:docMk/>
            <pc:sldMk cId="1670414324" sldId="265"/>
            <ac:spMk id="153" creationId="{8348E25A-35FE-2138-E88C-87A7339DB0A8}"/>
          </ac:spMkLst>
        </pc:spChg>
        <pc:spChg chg="add del mod ord">
          <ac:chgData name="PJ Grant" userId="21cab94c-7745-4db5-aa88-56cdc0183ba7" providerId="ADAL" clId="{C8CD02E3-132B-40F3-B6A0-926652F128C7}" dt="2024-12-01T01:21:19.216" v="38195" actId="255"/>
          <ac:spMkLst>
            <pc:docMk/>
            <pc:sldMk cId="1670414324" sldId="265"/>
            <ac:spMk id="154" creationId="{9AA43FF9-3D26-A33A-ABF9-A3C53603871A}"/>
          </ac:spMkLst>
        </pc:spChg>
        <pc:spChg chg="del mod ord">
          <ac:chgData name="PJ Grant" userId="21cab94c-7745-4db5-aa88-56cdc0183ba7" providerId="ADAL" clId="{C8CD02E3-132B-40F3-B6A0-926652F128C7}" dt="2024-12-01T01:08:24.445" v="37120" actId="478"/>
          <ac:spMkLst>
            <pc:docMk/>
            <pc:sldMk cId="1670414324" sldId="265"/>
            <ac:spMk id="155" creationId="{2BD8F2A2-BD40-208E-FD04-303149E7865C}"/>
          </ac:spMkLst>
        </pc:spChg>
        <pc:spChg chg="del mod ord">
          <ac:chgData name="PJ Grant" userId="21cab94c-7745-4db5-aa88-56cdc0183ba7" providerId="ADAL" clId="{C8CD02E3-132B-40F3-B6A0-926652F128C7}" dt="2024-12-01T01:08:24.445" v="37120" actId="478"/>
          <ac:spMkLst>
            <pc:docMk/>
            <pc:sldMk cId="1670414324" sldId="265"/>
            <ac:spMk id="156" creationId="{78994248-DF73-C195-2D72-16E31AA17F39}"/>
          </ac:spMkLst>
        </pc:spChg>
        <pc:spChg chg="del mod ord">
          <ac:chgData name="PJ Grant" userId="21cab94c-7745-4db5-aa88-56cdc0183ba7" providerId="ADAL" clId="{C8CD02E3-132B-40F3-B6A0-926652F128C7}" dt="2024-12-01T01:08:24.445" v="37120" actId="478"/>
          <ac:spMkLst>
            <pc:docMk/>
            <pc:sldMk cId="1670414324" sldId="265"/>
            <ac:spMk id="157" creationId="{DDAC26A0-B1F5-743A-EB95-C4E845A9D51B}"/>
          </ac:spMkLst>
        </pc:spChg>
        <pc:spChg chg="add mod">
          <ac:chgData name="PJ Grant" userId="21cab94c-7745-4db5-aa88-56cdc0183ba7" providerId="ADAL" clId="{C8CD02E3-132B-40F3-B6A0-926652F128C7}" dt="2024-11-30T22:59:36.390" v="23654"/>
          <ac:spMkLst>
            <pc:docMk/>
            <pc:sldMk cId="1670414324" sldId="265"/>
            <ac:spMk id="159" creationId="{85DC4E3E-648D-545C-D43E-41B041DD7BF8}"/>
          </ac:spMkLst>
        </pc:spChg>
        <pc:spChg chg="add del mod">
          <ac:chgData name="PJ Grant" userId="21cab94c-7745-4db5-aa88-56cdc0183ba7" providerId="ADAL" clId="{C8CD02E3-132B-40F3-B6A0-926652F128C7}" dt="2024-11-30T22:55:01.840" v="17159"/>
          <ac:spMkLst>
            <pc:docMk/>
            <pc:sldMk cId="1670414324" sldId="265"/>
            <ac:spMk id="160" creationId="{3D357BCC-2CD8-910F-6565-C0D79A9A48D6}"/>
          </ac:spMkLst>
        </pc:spChg>
        <pc:spChg chg="add del mod">
          <ac:chgData name="PJ Grant" userId="21cab94c-7745-4db5-aa88-56cdc0183ba7" providerId="ADAL" clId="{C8CD02E3-132B-40F3-B6A0-926652F128C7}" dt="2024-11-30T22:56:55.924" v="22586"/>
          <ac:spMkLst>
            <pc:docMk/>
            <pc:sldMk cId="1670414324" sldId="265"/>
            <ac:spMk id="161" creationId="{9DC444A3-331B-9022-4421-512DEF9B677B}"/>
          </ac:spMkLst>
        </pc:spChg>
        <pc:spChg chg="add del mod">
          <ac:chgData name="PJ Grant" userId="21cab94c-7745-4db5-aa88-56cdc0183ba7" providerId="ADAL" clId="{C8CD02E3-132B-40F3-B6A0-926652F128C7}" dt="2024-11-30T22:55:01.839" v="17158"/>
          <ac:spMkLst>
            <pc:docMk/>
            <pc:sldMk cId="1670414324" sldId="265"/>
            <ac:spMk id="162" creationId="{23A475FF-AE0D-714F-E32D-442C00516116}"/>
          </ac:spMkLst>
        </pc:spChg>
        <pc:spChg chg="add mod">
          <ac:chgData name="PJ Grant" userId="21cab94c-7745-4db5-aa88-56cdc0183ba7" providerId="ADAL" clId="{C8CD02E3-132B-40F3-B6A0-926652F128C7}" dt="2024-11-30T23:03:40.652" v="23822"/>
          <ac:spMkLst>
            <pc:docMk/>
            <pc:sldMk cId="1670414324" sldId="265"/>
            <ac:spMk id="164" creationId="{09AC38CE-4A4D-33DB-545B-2B752C1174E2}"/>
          </ac:spMkLst>
        </pc:spChg>
        <pc:spChg chg="add mod ord">
          <ac:chgData name="PJ Grant" userId="21cab94c-7745-4db5-aa88-56cdc0183ba7" providerId="ADAL" clId="{C8CD02E3-132B-40F3-B6A0-926652F128C7}" dt="2024-11-30T23:03:40.654" v="23828"/>
          <ac:spMkLst>
            <pc:docMk/>
            <pc:sldMk cId="1670414324" sldId="265"/>
            <ac:spMk id="165" creationId="{1B66A17B-F6DB-8CAF-A849-95D3B7A585AD}"/>
          </ac:spMkLst>
        </pc:spChg>
        <pc:spChg chg="add mod">
          <ac:chgData name="PJ Grant" userId="21cab94c-7745-4db5-aa88-56cdc0183ba7" providerId="ADAL" clId="{C8CD02E3-132B-40F3-B6A0-926652F128C7}" dt="2024-11-30T22:59:36.391" v="23655"/>
          <ac:spMkLst>
            <pc:docMk/>
            <pc:sldMk cId="1670414324" sldId="265"/>
            <ac:spMk id="166" creationId="{8C12863B-19F6-55C1-72AA-6CDD74424C69}"/>
          </ac:spMkLst>
        </pc:spChg>
        <pc:spChg chg="add del mod modVis">
          <ac:chgData name="PJ Grant" userId="21cab94c-7745-4db5-aa88-56cdc0183ba7" providerId="ADAL" clId="{C8CD02E3-132B-40F3-B6A0-926652F128C7}" dt="2024-11-30T22:54:57.432" v="17023"/>
          <ac:spMkLst>
            <pc:docMk/>
            <pc:sldMk cId="1670414324" sldId="265"/>
            <ac:spMk id="167" creationId="{1872D35A-62B0-722F-5EF9-A989D9ED9C20}"/>
          </ac:spMkLst>
        </pc:spChg>
        <pc:spChg chg="add del mod">
          <ac:chgData name="PJ Grant" userId="21cab94c-7745-4db5-aa88-56cdc0183ba7" providerId="ADAL" clId="{C8CD02E3-132B-40F3-B6A0-926652F128C7}" dt="2024-11-30T22:55:04.712" v="17890"/>
          <ac:spMkLst>
            <pc:docMk/>
            <pc:sldMk cId="1670414324" sldId="265"/>
            <ac:spMk id="169" creationId="{63C62E63-8B3D-A2DE-6A46-E71420D0843F}"/>
          </ac:spMkLst>
        </pc:spChg>
        <pc:spChg chg="add del mod">
          <ac:chgData name="PJ Grant" userId="21cab94c-7745-4db5-aa88-56cdc0183ba7" providerId="ADAL" clId="{C8CD02E3-132B-40F3-B6A0-926652F128C7}" dt="2024-11-30T22:55:04.713" v="17892"/>
          <ac:spMkLst>
            <pc:docMk/>
            <pc:sldMk cId="1670414324" sldId="265"/>
            <ac:spMk id="170" creationId="{50E9800F-3712-BAF5-3321-4A5FE75517BE}"/>
          </ac:spMkLst>
        </pc:spChg>
        <pc:spChg chg="add del mod">
          <ac:chgData name="PJ Grant" userId="21cab94c-7745-4db5-aa88-56cdc0183ba7" providerId="ADAL" clId="{C8CD02E3-132B-40F3-B6A0-926652F128C7}" dt="2024-11-30T22:55:04.714" v="17894"/>
          <ac:spMkLst>
            <pc:docMk/>
            <pc:sldMk cId="1670414324" sldId="265"/>
            <ac:spMk id="171" creationId="{0A8F0288-8B8D-6578-B78F-F2CB14697070}"/>
          </ac:spMkLst>
        </pc:spChg>
        <pc:spChg chg="add del mod">
          <ac:chgData name="PJ Grant" userId="21cab94c-7745-4db5-aa88-56cdc0183ba7" providerId="ADAL" clId="{C8CD02E3-132B-40F3-B6A0-926652F128C7}" dt="2024-11-30T22:55:04.716" v="17896"/>
          <ac:spMkLst>
            <pc:docMk/>
            <pc:sldMk cId="1670414324" sldId="265"/>
            <ac:spMk id="172" creationId="{544A395D-7186-9A00-C21D-CC98B3104260}"/>
          </ac:spMkLst>
        </pc:spChg>
        <pc:spChg chg="add del mod">
          <ac:chgData name="PJ Grant" userId="21cab94c-7745-4db5-aa88-56cdc0183ba7" providerId="ADAL" clId="{C8CD02E3-132B-40F3-B6A0-926652F128C7}" dt="2024-11-30T22:55:03.470" v="17740"/>
          <ac:spMkLst>
            <pc:docMk/>
            <pc:sldMk cId="1670414324" sldId="265"/>
            <ac:spMk id="173" creationId="{98DA8DFE-1416-1B1D-9E64-3BB5E1E9D535}"/>
          </ac:spMkLst>
        </pc:spChg>
        <pc:spChg chg="add del mod">
          <ac:chgData name="PJ Grant" userId="21cab94c-7745-4db5-aa88-56cdc0183ba7" providerId="ADAL" clId="{C8CD02E3-132B-40F3-B6A0-926652F128C7}" dt="2024-11-30T22:55:04.716" v="17897"/>
          <ac:spMkLst>
            <pc:docMk/>
            <pc:sldMk cId="1670414324" sldId="265"/>
            <ac:spMk id="174" creationId="{86E007A2-013A-FD70-729A-E1E7FA377700}"/>
          </ac:spMkLst>
        </pc:spChg>
        <pc:spChg chg="add del mod modVis">
          <ac:chgData name="PJ Grant" userId="21cab94c-7745-4db5-aa88-56cdc0183ba7" providerId="ADAL" clId="{C8CD02E3-132B-40F3-B6A0-926652F128C7}" dt="2024-11-30T22:55:03.064" v="17710"/>
          <ac:spMkLst>
            <pc:docMk/>
            <pc:sldMk cId="1670414324" sldId="265"/>
            <ac:spMk id="175" creationId="{A4074DFC-8182-CBF8-9DD4-175932B57A50}"/>
          </ac:spMkLst>
        </pc:spChg>
        <pc:spChg chg="add del mod">
          <ac:chgData name="PJ Grant" userId="21cab94c-7745-4db5-aa88-56cdc0183ba7" providerId="ADAL" clId="{C8CD02E3-132B-40F3-B6A0-926652F128C7}" dt="2024-11-30T22:56:48.160" v="22126"/>
          <ac:spMkLst>
            <pc:docMk/>
            <pc:sldMk cId="1670414324" sldId="265"/>
            <ac:spMk id="176" creationId="{3929D68D-B9D4-7A03-04A9-770B1F2E2D35}"/>
          </ac:spMkLst>
        </pc:spChg>
        <pc:spChg chg="add del mod">
          <ac:chgData name="PJ Grant" userId="21cab94c-7745-4db5-aa88-56cdc0183ba7" providerId="ADAL" clId="{C8CD02E3-132B-40F3-B6A0-926652F128C7}" dt="2024-11-30T22:56:48.159" v="22125"/>
          <ac:spMkLst>
            <pc:docMk/>
            <pc:sldMk cId="1670414324" sldId="265"/>
            <ac:spMk id="177" creationId="{6DF06485-4EFB-211F-A692-47AA99F2D93C}"/>
          </ac:spMkLst>
        </pc:spChg>
        <pc:spChg chg="add del mod">
          <ac:chgData name="PJ Grant" userId="21cab94c-7745-4db5-aa88-56cdc0183ba7" providerId="ADAL" clId="{C8CD02E3-132B-40F3-B6A0-926652F128C7}" dt="2024-11-30T22:56:48.159" v="22124"/>
          <ac:spMkLst>
            <pc:docMk/>
            <pc:sldMk cId="1670414324" sldId="265"/>
            <ac:spMk id="178" creationId="{86B29301-9955-5EE1-AD45-D5CBF7D14415}"/>
          </ac:spMkLst>
        </pc:spChg>
        <pc:spChg chg="add del mod">
          <ac:chgData name="PJ Grant" userId="21cab94c-7745-4db5-aa88-56cdc0183ba7" providerId="ADAL" clId="{C8CD02E3-132B-40F3-B6A0-926652F128C7}" dt="2024-11-30T22:56:48.159" v="22123"/>
          <ac:spMkLst>
            <pc:docMk/>
            <pc:sldMk cId="1670414324" sldId="265"/>
            <ac:spMk id="179" creationId="{5CB507DF-366B-26EB-E369-AE759F854125}"/>
          </ac:spMkLst>
        </pc:spChg>
        <pc:spChg chg="add del mod">
          <ac:chgData name="PJ Grant" userId="21cab94c-7745-4db5-aa88-56cdc0183ba7" providerId="ADAL" clId="{C8CD02E3-132B-40F3-B6A0-926652F128C7}" dt="2024-11-30T22:56:48.158" v="22122"/>
          <ac:spMkLst>
            <pc:docMk/>
            <pc:sldMk cId="1670414324" sldId="265"/>
            <ac:spMk id="180" creationId="{31B9FEB1-A039-C563-E20A-A012C30E0D7A}"/>
          </ac:spMkLst>
        </pc:spChg>
        <pc:spChg chg="add del mod">
          <ac:chgData name="PJ Grant" userId="21cab94c-7745-4db5-aa88-56cdc0183ba7" providerId="ADAL" clId="{C8CD02E3-132B-40F3-B6A0-926652F128C7}" dt="2024-11-30T22:56:48.158" v="22121"/>
          <ac:spMkLst>
            <pc:docMk/>
            <pc:sldMk cId="1670414324" sldId="265"/>
            <ac:spMk id="181" creationId="{F48643EB-5AA7-E7E8-21B7-29B90125C375}"/>
          </ac:spMkLst>
        </pc:spChg>
        <pc:spChg chg="add del mod">
          <ac:chgData name="PJ Grant" userId="21cab94c-7745-4db5-aa88-56cdc0183ba7" providerId="ADAL" clId="{C8CD02E3-132B-40F3-B6A0-926652F128C7}" dt="2024-11-30T22:56:48.157" v="22120"/>
          <ac:spMkLst>
            <pc:docMk/>
            <pc:sldMk cId="1670414324" sldId="265"/>
            <ac:spMk id="182" creationId="{9FC3EF95-6619-42DC-924B-3D244E30EC5F}"/>
          </ac:spMkLst>
        </pc:spChg>
        <pc:spChg chg="add del mod">
          <ac:chgData name="PJ Grant" userId="21cab94c-7745-4db5-aa88-56cdc0183ba7" providerId="ADAL" clId="{C8CD02E3-132B-40F3-B6A0-926652F128C7}" dt="2024-11-30T22:56:48.157" v="22119"/>
          <ac:spMkLst>
            <pc:docMk/>
            <pc:sldMk cId="1670414324" sldId="265"/>
            <ac:spMk id="183" creationId="{57E4F26B-06C4-C3A5-514B-347F1A03B7AA}"/>
          </ac:spMkLst>
        </pc:spChg>
        <pc:spChg chg="add del mod">
          <ac:chgData name="PJ Grant" userId="21cab94c-7745-4db5-aa88-56cdc0183ba7" providerId="ADAL" clId="{C8CD02E3-132B-40F3-B6A0-926652F128C7}" dt="2024-11-30T22:55:04.710" v="17889"/>
          <ac:spMkLst>
            <pc:docMk/>
            <pc:sldMk cId="1670414324" sldId="265"/>
            <ac:spMk id="185" creationId="{C007C892-D7A1-184A-CA38-C94108EA0F07}"/>
          </ac:spMkLst>
        </pc:spChg>
        <pc:spChg chg="add del mod">
          <ac:chgData name="PJ Grant" userId="21cab94c-7745-4db5-aa88-56cdc0183ba7" providerId="ADAL" clId="{C8CD02E3-132B-40F3-B6A0-926652F128C7}" dt="2024-11-30T22:55:04.712" v="17891"/>
          <ac:spMkLst>
            <pc:docMk/>
            <pc:sldMk cId="1670414324" sldId="265"/>
            <ac:spMk id="186" creationId="{FC050405-9D60-1B86-9C8C-9C3EDBB813F6}"/>
          </ac:spMkLst>
        </pc:spChg>
        <pc:spChg chg="add del mod">
          <ac:chgData name="PJ Grant" userId="21cab94c-7745-4db5-aa88-56cdc0183ba7" providerId="ADAL" clId="{C8CD02E3-132B-40F3-B6A0-926652F128C7}" dt="2024-11-30T22:55:04.713" v="17893"/>
          <ac:spMkLst>
            <pc:docMk/>
            <pc:sldMk cId="1670414324" sldId="265"/>
            <ac:spMk id="187" creationId="{7EC0E2F4-DB09-1E94-79D7-A04960633830}"/>
          </ac:spMkLst>
        </pc:spChg>
        <pc:spChg chg="add del mod">
          <ac:chgData name="PJ Grant" userId="21cab94c-7745-4db5-aa88-56cdc0183ba7" providerId="ADAL" clId="{C8CD02E3-132B-40F3-B6A0-926652F128C7}" dt="2024-11-30T22:55:04.714" v="17895"/>
          <ac:spMkLst>
            <pc:docMk/>
            <pc:sldMk cId="1670414324" sldId="265"/>
            <ac:spMk id="188" creationId="{879D1469-7713-3A86-4537-FC941498401E}"/>
          </ac:spMkLst>
        </pc:spChg>
        <pc:spChg chg="add mod">
          <ac:chgData name="PJ Grant" userId="21cab94c-7745-4db5-aa88-56cdc0183ba7" providerId="ADAL" clId="{C8CD02E3-132B-40F3-B6A0-926652F128C7}" dt="2024-11-30T22:59:36.391" v="23656"/>
          <ac:spMkLst>
            <pc:docMk/>
            <pc:sldMk cId="1670414324" sldId="265"/>
            <ac:spMk id="189" creationId="{8F9ACB5D-4BAE-ABB0-0D06-B04D1B58832B}"/>
          </ac:spMkLst>
        </pc:spChg>
        <pc:spChg chg="add del mod modVis">
          <ac:chgData name="PJ Grant" userId="21cab94c-7745-4db5-aa88-56cdc0183ba7" providerId="ADAL" clId="{C8CD02E3-132B-40F3-B6A0-926652F128C7}" dt="2024-11-30T22:55:03.684" v="17886"/>
          <ac:spMkLst>
            <pc:docMk/>
            <pc:sldMk cId="1670414324" sldId="265"/>
            <ac:spMk id="190" creationId="{168CBAF8-40F9-E963-BFB7-84F6924C0FCF}"/>
          </ac:spMkLst>
        </pc:spChg>
        <pc:spChg chg="add mod">
          <ac:chgData name="PJ Grant" userId="21cab94c-7745-4db5-aa88-56cdc0183ba7" providerId="ADAL" clId="{C8CD02E3-132B-40F3-B6A0-926652F128C7}" dt="2024-11-30T22:59:36.391" v="23657"/>
          <ac:spMkLst>
            <pc:docMk/>
            <pc:sldMk cId="1670414324" sldId="265"/>
            <ac:spMk id="192" creationId="{12E4AE2E-5CED-8A9F-C4D9-2009430C7D0A}"/>
          </ac:spMkLst>
        </pc:spChg>
        <pc:spChg chg="add del mod modVis">
          <ac:chgData name="PJ Grant" userId="21cab94c-7745-4db5-aa88-56cdc0183ba7" providerId="ADAL" clId="{C8CD02E3-132B-40F3-B6A0-926652F128C7}" dt="2024-11-30T22:55:04.981" v="18054"/>
          <ac:spMkLst>
            <pc:docMk/>
            <pc:sldMk cId="1670414324" sldId="265"/>
            <ac:spMk id="193" creationId="{46ECA201-B0AF-359D-BB9A-1DD56A4F7F5B}"/>
          </ac:spMkLst>
        </pc:spChg>
        <pc:spChg chg="add del mod modVis">
          <ac:chgData name="PJ Grant" userId="21cab94c-7745-4db5-aa88-56cdc0183ba7" providerId="ADAL" clId="{C8CD02E3-132B-40F3-B6A0-926652F128C7}" dt="2024-11-30T22:55:16.761" v="18207"/>
          <ac:spMkLst>
            <pc:docMk/>
            <pc:sldMk cId="1670414324" sldId="265"/>
            <ac:spMk id="195" creationId="{AF93532F-F6CC-5EDB-94AF-60F701969677}"/>
          </ac:spMkLst>
        </pc:spChg>
        <pc:spChg chg="add del mod modVis">
          <ac:chgData name="PJ Grant" userId="21cab94c-7745-4db5-aa88-56cdc0183ba7" providerId="ADAL" clId="{C8CD02E3-132B-40F3-B6A0-926652F128C7}" dt="2024-11-30T22:55:20.961" v="18341"/>
          <ac:spMkLst>
            <pc:docMk/>
            <pc:sldMk cId="1670414324" sldId="265"/>
            <ac:spMk id="197" creationId="{28FFBC36-865D-4D7E-A51C-8F3DAE6539D0}"/>
          </ac:spMkLst>
        </pc:spChg>
        <pc:spChg chg="add del mod modVis">
          <ac:chgData name="PJ Grant" userId="21cab94c-7745-4db5-aa88-56cdc0183ba7" providerId="ADAL" clId="{C8CD02E3-132B-40F3-B6A0-926652F128C7}" dt="2024-11-30T22:55:30.139" v="18461"/>
          <ac:spMkLst>
            <pc:docMk/>
            <pc:sldMk cId="1670414324" sldId="265"/>
            <ac:spMk id="199" creationId="{6F6CD9CF-29C2-8C8E-E4EE-950BA20B24BB}"/>
          </ac:spMkLst>
        </pc:spChg>
        <pc:spChg chg="add del mod modVis">
          <ac:chgData name="PJ Grant" userId="21cab94c-7745-4db5-aa88-56cdc0183ba7" providerId="ADAL" clId="{C8CD02E3-132B-40F3-B6A0-926652F128C7}" dt="2024-11-30T22:55:35.464" v="18581"/>
          <ac:spMkLst>
            <pc:docMk/>
            <pc:sldMk cId="1670414324" sldId="265"/>
            <ac:spMk id="201" creationId="{832D1D9B-C2B1-5AE3-2545-635D33422C0C}"/>
          </ac:spMkLst>
        </pc:spChg>
        <pc:spChg chg="add del mod modVis">
          <ac:chgData name="PJ Grant" userId="21cab94c-7745-4db5-aa88-56cdc0183ba7" providerId="ADAL" clId="{C8CD02E3-132B-40F3-B6A0-926652F128C7}" dt="2024-11-30T22:55:44.223" v="18674"/>
          <ac:spMkLst>
            <pc:docMk/>
            <pc:sldMk cId="1670414324" sldId="265"/>
            <ac:spMk id="203" creationId="{8C5B4BCD-7F20-C36D-ACD1-8628E32F241B}"/>
          </ac:spMkLst>
        </pc:spChg>
        <pc:spChg chg="add del mod">
          <ac:chgData name="PJ Grant" userId="21cab94c-7745-4db5-aa88-56cdc0183ba7" providerId="ADAL" clId="{C8CD02E3-132B-40F3-B6A0-926652F128C7}" dt="2024-11-30T22:56:53.017" v="22456"/>
          <ac:spMkLst>
            <pc:docMk/>
            <pc:sldMk cId="1670414324" sldId="265"/>
            <ac:spMk id="205" creationId="{7A033BA3-6712-6552-A020-A674DA59D0A3}"/>
          </ac:spMkLst>
        </pc:spChg>
        <pc:spChg chg="add del mod">
          <ac:chgData name="PJ Grant" userId="21cab94c-7745-4db5-aa88-56cdc0183ba7" providerId="ADAL" clId="{C8CD02E3-132B-40F3-B6A0-926652F128C7}" dt="2024-11-30T22:56:10.928" v="19436"/>
          <ac:spMkLst>
            <pc:docMk/>
            <pc:sldMk cId="1670414324" sldId="265"/>
            <ac:spMk id="206" creationId="{9C3BC2F8-21F0-0EC6-87F1-E1DE98E204C0}"/>
          </ac:spMkLst>
        </pc:spChg>
        <pc:spChg chg="add del mod">
          <ac:chgData name="PJ Grant" userId="21cab94c-7745-4db5-aa88-56cdc0183ba7" providerId="ADAL" clId="{C8CD02E3-132B-40F3-B6A0-926652F128C7}" dt="2024-11-30T22:56:10.930" v="19440"/>
          <ac:spMkLst>
            <pc:docMk/>
            <pc:sldMk cId="1670414324" sldId="265"/>
            <ac:spMk id="207" creationId="{6CB5E234-F29F-2E7C-E40F-2D61964A350C}"/>
          </ac:spMkLst>
        </pc:spChg>
        <pc:spChg chg="add del mod">
          <ac:chgData name="PJ Grant" userId="21cab94c-7745-4db5-aa88-56cdc0183ba7" providerId="ADAL" clId="{C8CD02E3-132B-40F3-B6A0-926652F128C7}" dt="2024-11-30T22:56:10.929" v="19439"/>
          <ac:spMkLst>
            <pc:docMk/>
            <pc:sldMk cId="1670414324" sldId="265"/>
            <ac:spMk id="208" creationId="{874CE3B1-6A4D-480E-F17F-A85188E5C1BF}"/>
          </ac:spMkLst>
        </pc:spChg>
        <pc:spChg chg="add del mod">
          <ac:chgData name="PJ Grant" userId="21cab94c-7745-4db5-aa88-56cdc0183ba7" providerId="ADAL" clId="{C8CD02E3-132B-40F3-B6A0-926652F128C7}" dt="2024-11-30T22:56:10.929" v="19438"/>
          <ac:spMkLst>
            <pc:docMk/>
            <pc:sldMk cId="1670414324" sldId="265"/>
            <ac:spMk id="209" creationId="{4BFDA718-0178-755F-503C-A067196C853A}"/>
          </ac:spMkLst>
        </pc:spChg>
        <pc:spChg chg="add del mod">
          <ac:chgData name="PJ Grant" userId="21cab94c-7745-4db5-aa88-56cdc0183ba7" providerId="ADAL" clId="{C8CD02E3-132B-40F3-B6A0-926652F128C7}" dt="2024-11-30T22:56:10.929" v="19437"/>
          <ac:spMkLst>
            <pc:docMk/>
            <pc:sldMk cId="1670414324" sldId="265"/>
            <ac:spMk id="210" creationId="{46D86507-4DE8-2E29-C402-46C89C32E1CE}"/>
          </ac:spMkLst>
        </pc:spChg>
        <pc:spChg chg="add del mod">
          <ac:chgData name="PJ Grant" userId="21cab94c-7745-4db5-aa88-56cdc0183ba7" providerId="ADAL" clId="{C8CD02E3-132B-40F3-B6A0-926652F128C7}" dt="2024-11-30T22:56:10.928" v="19435"/>
          <ac:spMkLst>
            <pc:docMk/>
            <pc:sldMk cId="1670414324" sldId="265"/>
            <ac:spMk id="211" creationId="{E5A291B1-F54A-C134-6861-924C73BD0839}"/>
          </ac:spMkLst>
        </pc:spChg>
        <pc:spChg chg="add del mod">
          <ac:chgData name="PJ Grant" userId="21cab94c-7745-4db5-aa88-56cdc0183ba7" providerId="ADAL" clId="{C8CD02E3-132B-40F3-B6A0-926652F128C7}" dt="2024-11-30T22:56:10.927" v="19434"/>
          <ac:spMkLst>
            <pc:docMk/>
            <pc:sldMk cId="1670414324" sldId="265"/>
            <ac:spMk id="212" creationId="{6EDF12D5-B6AC-0E48-B995-49C663833739}"/>
          </ac:spMkLst>
        </pc:spChg>
        <pc:spChg chg="add del mod">
          <ac:chgData name="PJ Grant" userId="21cab94c-7745-4db5-aa88-56cdc0183ba7" providerId="ADAL" clId="{C8CD02E3-132B-40F3-B6A0-926652F128C7}" dt="2024-11-30T22:56:10.927" v="19433"/>
          <ac:spMkLst>
            <pc:docMk/>
            <pc:sldMk cId="1670414324" sldId="265"/>
            <ac:spMk id="213" creationId="{FE7BF3A3-0E16-EDF6-91C0-E5719228508A}"/>
          </ac:spMkLst>
        </pc:spChg>
        <pc:spChg chg="add del mod">
          <ac:chgData name="PJ Grant" userId="21cab94c-7745-4db5-aa88-56cdc0183ba7" providerId="ADAL" clId="{C8CD02E3-132B-40F3-B6A0-926652F128C7}" dt="2024-11-30T22:56:10.926" v="19432"/>
          <ac:spMkLst>
            <pc:docMk/>
            <pc:sldMk cId="1670414324" sldId="265"/>
            <ac:spMk id="214" creationId="{65C3F8D0-DDF2-1BA9-D5A8-A7EFB9E78AA5}"/>
          </ac:spMkLst>
        </pc:spChg>
        <pc:spChg chg="add mod">
          <ac:chgData name="PJ Grant" userId="21cab94c-7745-4db5-aa88-56cdc0183ba7" providerId="ADAL" clId="{C8CD02E3-132B-40F3-B6A0-926652F128C7}" dt="2024-11-30T22:59:36.396" v="23681"/>
          <ac:spMkLst>
            <pc:docMk/>
            <pc:sldMk cId="1670414324" sldId="265"/>
            <ac:spMk id="215" creationId="{44AAD855-64D2-BBC4-E380-09468DF114A3}"/>
          </ac:spMkLst>
        </pc:spChg>
        <pc:spChg chg="add mod">
          <ac:chgData name="PJ Grant" userId="21cab94c-7745-4db5-aa88-56cdc0183ba7" providerId="ADAL" clId="{C8CD02E3-132B-40F3-B6A0-926652F128C7}" dt="2024-11-30T22:59:36.396" v="23682"/>
          <ac:spMkLst>
            <pc:docMk/>
            <pc:sldMk cId="1670414324" sldId="265"/>
            <ac:spMk id="216" creationId="{329602AE-BA31-0589-0B13-EB2E749005DF}"/>
          </ac:spMkLst>
        </pc:spChg>
        <pc:spChg chg="add mod">
          <ac:chgData name="PJ Grant" userId="21cab94c-7745-4db5-aa88-56cdc0183ba7" providerId="ADAL" clId="{C8CD02E3-132B-40F3-B6A0-926652F128C7}" dt="2024-11-30T22:59:36.397" v="23683"/>
          <ac:spMkLst>
            <pc:docMk/>
            <pc:sldMk cId="1670414324" sldId="265"/>
            <ac:spMk id="217" creationId="{839A040B-6C81-3033-BA2C-5D3F7B4CD57E}"/>
          </ac:spMkLst>
        </pc:spChg>
        <pc:spChg chg="add mod">
          <ac:chgData name="PJ Grant" userId="21cab94c-7745-4db5-aa88-56cdc0183ba7" providerId="ADAL" clId="{C8CD02E3-132B-40F3-B6A0-926652F128C7}" dt="2024-11-30T22:59:36.397" v="23684"/>
          <ac:spMkLst>
            <pc:docMk/>
            <pc:sldMk cId="1670414324" sldId="265"/>
            <ac:spMk id="218" creationId="{4EB9E3EB-934C-9363-6E5C-CA3E1066024F}"/>
          </ac:spMkLst>
        </pc:spChg>
        <pc:spChg chg="add del mod">
          <ac:chgData name="PJ Grant" userId="21cab94c-7745-4db5-aa88-56cdc0183ba7" providerId="ADAL" clId="{C8CD02E3-132B-40F3-B6A0-926652F128C7}" dt="2024-11-30T22:56:10.835" v="19387"/>
          <ac:spMkLst>
            <pc:docMk/>
            <pc:sldMk cId="1670414324" sldId="265"/>
            <ac:spMk id="219" creationId="{2106E1B4-A9AC-2E87-EB36-D70A90F95E11}"/>
          </ac:spMkLst>
        </pc:spChg>
        <pc:spChg chg="add del mod">
          <ac:chgData name="PJ Grant" userId="21cab94c-7745-4db5-aa88-56cdc0183ba7" providerId="ADAL" clId="{C8CD02E3-132B-40F3-B6A0-926652F128C7}" dt="2024-11-30T22:56:10.837" v="19388"/>
          <ac:spMkLst>
            <pc:docMk/>
            <pc:sldMk cId="1670414324" sldId="265"/>
            <ac:spMk id="220" creationId="{7C4A2080-1935-AA5D-20AF-AB5DFCD28443}"/>
          </ac:spMkLst>
        </pc:spChg>
        <pc:spChg chg="add del mod">
          <ac:chgData name="PJ Grant" userId="21cab94c-7745-4db5-aa88-56cdc0183ba7" providerId="ADAL" clId="{C8CD02E3-132B-40F3-B6A0-926652F128C7}" dt="2024-11-30T22:56:09.375" v="19238"/>
          <ac:spMkLst>
            <pc:docMk/>
            <pc:sldMk cId="1670414324" sldId="265"/>
            <ac:spMk id="221" creationId="{5A444038-DFE1-AFA1-1DAE-2062E74CDF23}"/>
          </ac:spMkLst>
        </pc:spChg>
        <pc:spChg chg="add del mod">
          <ac:chgData name="PJ Grant" userId="21cab94c-7745-4db5-aa88-56cdc0183ba7" providerId="ADAL" clId="{C8CD02E3-132B-40F3-B6A0-926652F128C7}" dt="2024-11-30T22:56:10.838" v="19389"/>
          <ac:spMkLst>
            <pc:docMk/>
            <pc:sldMk cId="1670414324" sldId="265"/>
            <ac:spMk id="222" creationId="{4A40679D-85E9-5319-4E07-54C7DB5DEBF2}"/>
          </ac:spMkLst>
        </pc:spChg>
        <pc:spChg chg="add del mod">
          <ac:chgData name="PJ Grant" userId="21cab94c-7745-4db5-aa88-56cdc0183ba7" providerId="ADAL" clId="{C8CD02E3-132B-40F3-B6A0-926652F128C7}" dt="2024-11-30T22:56:10.831" v="19382"/>
          <ac:spMkLst>
            <pc:docMk/>
            <pc:sldMk cId="1670414324" sldId="265"/>
            <ac:spMk id="223" creationId="{ADFB5FB1-5ED8-588D-9A65-4AE229752155}"/>
          </ac:spMkLst>
        </pc:spChg>
        <pc:spChg chg="add del mod ord">
          <ac:chgData name="PJ Grant" userId="21cab94c-7745-4db5-aa88-56cdc0183ba7" providerId="ADAL" clId="{C8CD02E3-132B-40F3-B6A0-926652F128C7}" dt="2024-11-30T22:56:10.833" v="19385"/>
          <ac:spMkLst>
            <pc:docMk/>
            <pc:sldMk cId="1670414324" sldId="265"/>
            <ac:spMk id="224" creationId="{3E758C80-9271-CC8D-243B-05FE3367410C}"/>
          </ac:spMkLst>
        </pc:spChg>
        <pc:spChg chg="add del mod">
          <ac:chgData name="PJ Grant" userId="21cab94c-7745-4db5-aa88-56cdc0183ba7" providerId="ADAL" clId="{C8CD02E3-132B-40F3-B6A0-926652F128C7}" dt="2024-11-30T22:56:10.832" v="19383"/>
          <ac:spMkLst>
            <pc:docMk/>
            <pc:sldMk cId="1670414324" sldId="265"/>
            <ac:spMk id="225" creationId="{4B31A9A6-DE53-F2EC-2CEA-62BEB37E7EC2}"/>
          </ac:spMkLst>
        </pc:spChg>
        <pc:spChg chg="add del mod">
          <ac:chgData name="PJ Grant" userId="21cab94c-7745-4db5-aa88-56cdc0183ba7" providerId="ADAL" clId="{C8CD02E3-132B-40F3-B6A0-926652F128C7}" dt="2024-11-30T22:56:10.834" v="19386"/>
          <ac:spMkLst>
            <pc:docMk/>
            <pc:sldMk cId="1670414324" sldId="265"/>
            <ac:spMk id="226" creationId="{4DDE045B-FFA4-1AAB-06E2-EE325BE858BC}"/>
          </ac:spMkLst>
        </pc:spChg>
        <pc:spChg chg="add del mod modVis">
          <ac:chgData name="PJ Grant" userId="21cab94c-7745-4db5-aa88-56cdc0183ba7" providerId="ADAL" clId="{C8CD02E3-132B-40F3-B6A0-926652F128C7}" dt="2024-11-30T22:55:52.086" v="19225"/>
          <ac:spMkLst>
            <pc:docMk/>
            <pc:sldMk cId="1670414324" sldId="265"/>
            <ac:spMk id="227" creationId="{75C26953-6386-5AA3-58D4-17B91DBA09BF}"/>
          </ac:spMkLst>
        </pc:spChg>
        <pc:spChg chg="add del mod modVis">
          <ac:chgData name="PJ Grant" userId="21cab94c-7745-4db5-aa88-56cdc0183ba7" providerId="ADAL" clId="{C8CD02E3-132B-40F3-B6A0-926652F128C7}" dt="2024-11-30T22:56:09.584" v="19379"/>
          <ac:spMkLst>
            <pc:docMk/>
            <pc:sldMk cId="1670414324" sldId="265"/>
            <ac:spMk id="229" creationId="{C22CF10C-311A-69B9-D6A0-26A82879DBA9}"/>
          </ac:spMkLst>
        </pc:spChg>
        <pc:spChg chg="add del mod modVis">
          <ac:chgData name="PJ Grant" userId="21cab94c-7745-4db5-aa88-56cdc0183ba7" providerId="ADAL" clId="{C8CD02E3-132B-40F3-B6A0-926652F128C7}" dt="2024-11-30T22:56:12.422" v="20020"/>
          <ac:spMkLst>
            <pc:docMk/>
            <pc:sldMk cId="1670414324" sldId="265"/>
            <ac:spMk id="231" creationId="{C463C5EE-26CC-E14E-856F-CAE18D686561}"/>
          </ac:spMkLst>
        </pc:spChg>
        <pc:spChg chg="add del mod">
          <ac:chgData name="PJ Grant" userId="21cab94c-7745-4db5-aa88-56cdc0183ba7" providerId="ADAL" clId="{C8CD02E3-132B-40F3-B6A0-926652F128C7}" dt="2024-11-30T22:56:13.727" v="20107"/>
          <ac:spMkLst>
            <pc:docMk/>
            <pc:sldMk cId="1670414324" sldId="265"/>
            <ac:spMk id="232" creationId="{6EA94FE9-7463-7122-7533-B68818DBDED1}"/>
          </ac:spMkLst>
        </pc:spChg>
        <pc:spChg chg="add del mod">
          <ac:chgData name="PJ Grant" userId="21cab94c-7745-4db5-aa88-56cdc0183ba7" providerId="ADAL" clId="{C8CD02E3-132B-40F3-B6A0-926652F128C7}" dt="2024-11-30T22:56:13.726" v="20106"/>
          <ac:spMkLst>
            <pc:docMk/>
            <pc:sldMk cId="1670414324" sldId="265"/>
            <ac:spMk id="233" creationId="{F835B417-563D-8FF9-81B3-120AFCC33A27}"/>
          </ac:spMkLst>
        </pc:spChg>
        <pc:spChg chg="add del mod">
          <ac:chgData name="PJ Grant" userId="21cab94c-7745-4db5-aa88-56cdc0183ba7" providerId="ADAL" clId="{C8CD02E3-132B-40F3-B6A0-926652F128C7}" dt="2024-11-30T22:56:13.725" v="20105"/>
          <ac:spMkLst>
            <pc:docMk/>
            <pc:sldMk cId="1670414324" sldId="265"/>
            <ac:spMk id="234" creationId="{59E75A09-87A1-B9FE-96B9-682E81FF4863}"/>
          </ac:spMkLst>
        </pc:spChg>
        <pc:spChg chg="add del mod">
          <ac:chgData name="PJ Grant" userId="21cab94c-7745-4db5-aa88-56cdc0183ba7" providerId="ADAL" clId="{C8CD02E3-132B-40F3-B6A0-926652F128C7}" dt="2024-11-30T22:56:13.725" v="20104"/>
          <ac:spMkLst>
            <pc:docMk/>
            <pc:sldMk cId="1670414324" sldId="265"/>
            <ac:spMk id="235" creationId="{5DF6D280-FC32-46B1-E647-B3A631274D45}"/>
          </ac:spMkLst>
        </pc:spChg>
        <pc:spChg chg="add del mod">
          <ac:chgData name="PJ Grant" userId="21cab94c-7745-4db5-aa88-56cdc0183ba7" providerId="ADAL" clId="{C8CD02E3-132B-40F3-B6A0-926652F128C7}" dt="2024-11-30T22:56:13.724" v="20103"/>
          <ac:spMkLst>
            <pc:docMk/>
            <pc:sldMk cId="1670414324" sldId="265"/>
            <ac:spMk id="236" creationId="{8A53BCD3-2532-96D7-15CF-0E313543C513}"/>
          </ac:spMkLst>
        </pc:spChg>
        <pc:spChg chg="add del mod">
          <ac:chgData name="PJ Grant" userId="21cab94c-7745-4db5-aa88-56cdc0183ba7" providerId="ADAL" clId="{C8CD02E3-132B-40F3-B6A0-926652F128C7}" dt="2024-11-30T22:56:13.724" v="20102"/>
          <ac:spMkLst>
            <pc:docMk/>
            <pc:sldMk cId="1670414324" sldId="265"/>
            <ac:spMk id="237" creationId="{62DCEE52-B6E6-6722-30DB-51FE8825F9DD}"/>
          </ac:spMkLst>
        </pc:spChg>
        <pc:spChg chg="add del mod">
          <ac:chgData name="PJ Grant" userId="21cab94c-7745-4db5-aa88-56cdc0183ba7" providerId="ADAL" clId="{C8CD02E3-132B-40F3-B6A0-926652F128C7}" dt="2024-11-30T22:56:13.723" v="20101"/>
          <ac:spMkLst>
            <pc:docMk/>
            <pc:sldMk cId="1670414324" sldId="265"/>
            <ac:spMk id="238" creationId="{DDD2024D-7A9F-02FF-9AAF-2FD8EF063656}"/>
          </ac:spMkLst>
        </pc:spChg>
        <pc:spChg chg="add del mod">
          <ac:chgData name="PJ Grant" userId="21cab94c-7745-4db5-aa88-56cdc0183ba7" providerId="ADAL" clId="{C8CD02E3-132B-40F3-B6A0-926652F128C7}" dt="2024-11-30T22:56:13.723" v="20100"/>
          <ac:spMkLst>
            <pc:docMk/>
            <pc:sldMk cId="1670414324" sldId="265"/>
            <ac:spMk id="239" creationId="{8D0249F4-1BA4-5F01-4131-289BD3CE1C3D}"/>
          </ac:spMkLst>
        </pc:spChg>
        <pc:spChg chg="add del mod">
          <ac:chgData name="PJ Grant" userId="21cab94c-7745-4db5-aa88-56cdc0183ba7" providerId="ADAL" clId="{C8CD02E3-132B-40F3-B6A0-926652F128C7}" dt="2024-11-30T22:56:13.722" v="20099"/>
          <ac:spMkLst>
            <pc:docMk/>
            <pc:sldMk cId="1670414324" sldId="265"/>
            <ac:spMk id="240" creationId="{F94F6DB8-4846-488A-D43C-8CEAFDD3926B}"/>
          </ac:spMkLst>
        </pc:spChg>
        <pc:spChg chg="add del mod">
          <ac:chgData name="PJ Grant" userId="21cab94c-7745-4db5-aa88-56cdc0183ba7" providerId="ADAL" clId="{C8CD02E3-132B-40F3-B6A0-926652F128C7}" dt="2024-11-30T22:56:13.721" v="20098"/>
          <ac:spMkLst>
            <pc:docMk/>
            <pc:sldMk cId="1670414324" sldId="265"/>
            <ac:spMk id="241" creationId="{631FD916-302F-0096-E130-439CA70CA72F}"/>
          </ac:spMkLst>
        </pc:spChg>
        <pc:spChg chg="add del mod">
          <ac:chgData name="PJ Grant" userId="21cab94c-7745-4db5-aa88-56cdc0183ba7" providerId="ADAL" clId="{C8CD02E3-132B-40F3-B6A0-926652F128C7}" dt="2024-11-30T22:57:01.928" v="22816"/>
          <ac:spMkLst>
            <pc:docMk/>
            <pc:sldMk cId="1670414324" sldId="265"/>
            <ac:spMk id="243" creationId="{BA61C48A-241A-3EEA-881E-FB4AF410643C}"/>
          </ac:spMkLst>
        </pc:spChg>
        <pc:spChg chg="add del mod modVis">
          <ac:chgData name="PJ Grant" userId="21cab94c-7745-4db5-aa88-56cdc0183ba7" providerId="ADAL" clId="{C8CD02E3-132B-40F3-B6A0-926652F128C7}" dt="2024-11-30T22:56:15.365" v="20749"/>
          <ac:spMkLst>
            <pc:docMk/>
            <pc:sldMk cId="1670414324" sldId="265"/>
            <ac:spMk id="244" creationId="{D423990D-D29F-61B5-CA95-6DDC4ED372B1}"/>
          </ac:spMkLst>
        </pc:spChg>
        <pc:spChg chg="add mod">
          <ac:chgData name="PJ Grant" userId="21cab94c-7745-4db5-aa88-56cdc0183ba7" providerId="ADAL" clId="{C8CD02E3-132B-40F3-B6A0-926652F128C7}" dt="2024-11-30T22:59:36.397" v="23685"/>
          <ac:spMkLst>
            <pc:docMk/>
            <pc:sldMk cId="1670414324" sldId="265"/>
            <ac:spMk id="245" creationId="{29994ECA-9989-92CC-6738-9966D9B73673}"/>
          </ac:spMkLst>
        </pc:spChg>
        <pc:spChg chg="add del mod">
          <ac:chgData name="PJ Grant" userId="21cab94c-7745-4db5-aa88-56cdc0183ba7" providerId="ADAL" clId="{C8CD02E3-132B-40F3-B6A0-926652F128C7}" dt="2024-11-30T22:56:16.155" v="20809"/>
          <ac:spMkLst>
            <pc:docMk/>
            <pc:sldMk cId="1670414324" sldId="265"/>
            <ac:spMk id="246" creationId="{53CE93A1-4642-4DBA-D746-D338B2A7C1DA}"/>
          </ac:spMkLst>
        </pc:spChg>
        <pc:spChg chg="add del mod">
          <ac:chgData name="PJ Grant" userId="21cab94c-7745-4db5-aa88-56cdc0183ba7" providerId="ADAL" clId="{C8CD02E3-132B-40F3-B6A0-926652F128C7}" dt="2024-11-30T22:56:16.153" v="20808"/>
          <ac:spMkLst>
            <pc:docMk/>
            <pc:sldMk cId="1670414324" sldId="265"/>
            <ac:spMk id="247" creationId="{8D1C8944-B9CB-2F07-F42D-B572596F3FFD}"/>
          </ac:spMkLst>
        </pc:spChg>
        <pc:spChg chg="add del mod">
          <ac:chgData name="PJ Grant" userId="21cab94c-7745-4db5-aa88-56cdc0183ba7" providerId="ADAL" clId="{C8CD02E3-132B-40F3-B6A0-926652F128C7}" dt="2024-11-30T22:56:16.153" v="20807"/>
          <ac:spMkLst>
            <pc:docMk/>
            <pc:sldMk cId="1670414324" sldId="265"/>
            <ac:spMk id="248" creationId="{8C538253-24E3-41A2-A22F-16F7D99A4FDB}"/>
          </ac:spMkLst>
        </pc:spChg>
        <pc:spChg chg="add del mod">
          <ac:chgData name="PJ Grant" userId="21cab94c-7745-4db5-aa88-56cdc0183ba7" providerId="ADAL" clId="{C8CD02E3-132B-40F3-B6A0-926652F128C7}" dt="2024-11-30T22:56:16.152" v="20806"/>
          <ac:spMkLst>
            <pc:docMk/>
            <pc:sldMk cId="1670414324" sldId="265"/>
            <ac:spMk id="249" creationId="{1C662505-B04E-715D-262F-A7B76B8D6F0A}"/>
          </ac:spMkLst>
        </pc:spChg>
        <pc:spChg chg="add del mod">
          <ac:chgData name="PJ Grant" userId="21cab94c-7745-4db5-aa88-56cdc0183ba7" providerId="ADAL" clId="{C8CD02E3-132B-40F3-B6A0-926652F128C7}" dt="2024-11-30T22:56:53.017" v="22455"/>
          <ac:spMkLst>
            <pc:docMk/>
            <pc:sldMk cId="1670414324" sldId="265"/>
            <ac:spMk id="250" creationId="{FF3ED0A6-24AA-292B-6A9F-58DA1A34A046}"/>
          </ac:spMkLst>
        </pc:spChg>
        <pc:spChg chg="add del mod">
          <ac:chgData name="PJ Grant" userId="21cab94c-7745-4db5-aa88-56cdc0183ba7" providerId="ADAL" clId="{C8CD02E3-132B-40F3-B6A0-926652F128C7}" dt="2024-11-30T22:56:16.151" v="20805"/>
          <ac:spMkLst>
            <pc:docMk/>
            <pc:sldMk cId="1670414324" sldId="265"/>
            <ac:spMk id="251" creationId="{DD31EB75-0AA1-2721-C806-2C3C402C74A9}"/>
          </ac:spMkLst>
        </pc:spChg>
        <pc:spChg chg="add del mod">
          <ac:chgData name="PJ Grant" userId="21cab94c-7745-4db5-aa88-56cdc0183ba7" providerId="ADAL" clId="{C8CD02E3-132B-40F3-B6A0-926652F128C7}" dt="2024-11-30T22:56:16.151" v="20804"/>
          <ac:spMkLst>
            <pc:docMk/>
            <pc:sldMk cId="1670414324" sldId="265"/>
            <ac:spMk id="252" creationId="{7F7FEF41-A8CF-7C74-CEA7-8592D8617F07}"/>
          </ac:spMkLst>
        </pc:spChg>
        <pc:spChg chg="add del mod">
          <ac:chgData name="PJ Grant" userId="21cab94c-7745-4db5-aa88-56cdc0183ba7" providerId="ADAL" clId="{C8CD02E3-132B-40F3-B6A0-926652F128C7}" dt="2024-11-30T22:56:16.149" v="20803"/>
          <ac:spMkLst>
            <pc:docMk/>
            <pc:sldMk cId="1670414324" sldId="265"/>
            <ac:spMk id="253" creationId="{30E2C43C-F96B-103D-93F3-1AA0A0EB4A64}"/>
          </ac:spMkLst>
        </pc:spChg>
        <pc:spChg chg="add del mod">
          <ac:chgData name="PJ Grant" userId="21cab94c-7745-4db5-aa88-56cdc0183ba7" providerId="ADAL" clId="{C8CD02E3-132B-40F3-B6A0-926652F128C7}" dt="2024-11-30T22:56:16.148" v="20802"/>
          <ac:spMkLst>
            <pc:docMk/>
            <pc:sldMk cId="1670414324" sldId="265"/>
            <ac:spMk id="254" creationId="{AEE42EC7-526D-A87A-79BA-A04132C7A6BF}"/>
          </ac:spMkLst>
        </pc:spChg>
        <pc:spChg chg="add del mod">
          <ac:chgData name="PJ Grant" userId="21cab94c-7745-4db5-aa88-56cdc0183ba7" providerId="ADAL" clId="{C8CD02E3-132B-40F3-B6A0-926652F128C7}" dt="2024-11-30T22:56:53.017" v="22454"/>
          <ac:spMkLst>
            <pc:docMk/>
            <pc:sldMk cId="1670414324" sldId="265"/>
            <ac:spMk id="255" creationId="{65427972-07C6-AA7C-81C6-195850B8198D}"/>
          </ac:spMkLst>
        </pc:spChg>
        <pc:spChg chg="add del mod">
          <ac:chgData name="PJ Grant" userId="21cab94c-7745-4db5-aa88-56cdc0183ba7" providerId="ADAL" clId="{C8CD02E3-132B-40F3-B6A0-926652F128C7}" dt="2024-11-30T22:57:01.928" v="22815"/>
          <ac:spMkLst>
            <pc:docMk/>
            <pc:sldMk cId="1670414324" sldId="265"/>
            <ac:spMk id="257" creationId="{91043CC0-E1F9-5F18-308C-6A4D126193A9}"/>
          </ac:spMkLst>
        </pc:spChg>
        <pc:spChg chg="add mod">
          <ac:chgData name="PJ Grant" userId="21cab94c-7745-4db5-aa88-56cdc0183ba7" providerId="ADAL" clId="{C8CD02E3-132B-40F3-B6A0-926652F128C7}" dt="2024-11-30T22:59:36.397" v="23686"/>
          <ac:spMkLst>
            <pc:docMk/>
            <pc:sldMk cId="1670414324" sldId="265"/>
            <ac:spMk id="258" creationId="{1FA38AB0-D6DC-6E78-2DF9-416A8B65EB66}"/>
          </ac:spMkLst>
        </pc:spChg>
        <pc:spChg chg="add del mod modVis">
          <ac:chgData name="PJ Grant" userId="21cab94c-7745-4db5-aa88-56cdc0183ba7" providerId="ADAL" clId="{C8CD02E3-132B-40F3-B6A0-926652F128C7}" dt="2024-11-30T22:56:16.707" v="21059"/>
          <ac:spMkLst>
            <pc:docMk/>
            <pc:sldMk cId="1670414324" sldId="265"/>
            <ac:spMk id="259" creationId="{C3F5E8CF-2B33-F8F3-1DFB-53D30B105153}"/>
          </ac:spMkLst>
        </pc:spChg>
        <pc:spChg chg="add del mod">
          <ac:chgData name="PJ Grant" userId="21cab94c-7745-4db5-aa88-56cdc0183ba7" providerId="ADAL" clId="{C8CD02E3-132B-40F3-B6A0-926652F128C7}" dt="2024-11-30T22:56:53.016" v="22453"/>
          <ac:spMkLst>
            <pc:docMk/>
            <pc:sldMk cId="1670414324" sldId="265"/>
            <ac:spMk id="260" creationId="{D3A2A2E6-E82B-686A-7C74-3241FB674063}"/>
          </ac:spMkLst>
        </pc:spChg>
        <pc:spChg chg="add del mod">
          <ac:chgData name="PJ Grant" userId="21cab94c-7745-4db5-aa88-56cdc0183ba7" providerId="ADAL" clId="{C8CD02E3-132B-40F3-B6A0-926652F128C7}" dt="2024-11-30T22:56:53.016" v="22452"/>
          <ac:spMkLst>
            <pc:docMk/>
            <pc:sldMk cId="1670414324" sldId="265"/>
            <ac:spMk id="261" creationId="{07A72312-D2E3-523C-6543-00047A76A4F8}"/>
          </ac:spMkLst>
        </pc:spChg>
        <pc:spChg chg="add del mod">
          <ac:chgData name="PJ Grant" userId="21cab94c-7745-4db5-aa88-56cdc0183ba7" providerId="ADAL" clId="{C8CD02E3-132B-40F3-B6A0-926652F128C7}" dt="2024-11-30T22:56:53.015" v="22451"/>
          <ac:spMkLst>
            <pc:docMk/>
            <pc:sldMk cId="1670414324" sldId="265"/>
            <ac:spMk id="262" creationId="{D33507F3-E3BF-72D1-8B26-AE563DEC191A}"/>
          </ac:spMkLst>
        </pc:spChg>
        <pc:spChg chg="add mod">
          <ac:chgData name="PJ Grant" userId="21cab94c-7745-4db5-aa88-56cdc0183ba7" providerId="ADAL" clId="{C8CD02E3-132B-40F3-B6A0-926652F128C7}" dt="2024-11-30T22:59:36.397" v="23687"/>
          <ac:spMkLst>
            <pc:docMk/>
            <pc:sldMk cId="1670414324" sldId="265"/>
            <ac:spMk id="264" creationId="{2D0D9DEB-4D12-3312-68CC-41A2EBEB8A4A}"/>
          </ac:spMkLst>
        </pc:spChg>
        <pc:spChg chg="add del mod modVis">
          <ac:chgData name="PJ Grant" userId="21cab94c-7745-4db5-aa88-56cdc0183ba7" providerId="ADAL" clId="{C8CD02E3-132B-40F3-B6A0-926652F128C7}" dt="2024-11-30T22:56:19.101" v="21214"/>
          <ac:spMkLst>
            <pc:docMk/>
            <pc:sldMk cId="1670414324" sldId="265"/>
            <ac:spMk id="265" creationId="{18746AB9-24F7-BE73-6B15-CA1F9E93835C}"/>
          </ac:spMkLst>
        </pc:spChg>
        <pc:spChg chg="add mod">
          <ac:chgData name="PJ Grant" userId="21cab94c-7745-4db5-aa88-56cdc0183ba7" providerId="ADAL" clId="{C8CD02E3-132B-40F3-B6A0-926652F128C7}" dt="2024-11-30T22:59:36.397" v="23688"/>
          <ac:spMkLst>
            <pc:docMk/>
            <pc:sldMk cId="1670414324" sldId="265"/>
            <ac:spMk id="267" creationId="{8416E7CC-346C-5CAB-6257-58CBB78B50A6}"/>
          </ac:spMkLst>
        </pc:spChg>
        <pc:spChg chg="add del mod modVis">
          <ac:chgData name="PJ Grant" userId="21cab94c-7745-4db5-aa88-56cdc0183ba7" providerId="ADAL" clId="{C8CD02E3-132B-40F3-B6A0-926652F128C7}" dt="2024-11-30T22:56:21.836" v="21371"/>
          <ac:spMkLst>
            <pc:docMk/>
            <pc:sldMk cId="1670414324" sldId="265"/>
            <ac:spMk id="268" creationId="{3309F7BC-6B2A-CCD1-4114-53A0B9B41E16}"/>
          </ac:spMkLst>
        </pc:spChg>
        <pc:spChg chg="add del mod">
          <ac:chgData name="PJ Grant" userId="21cab94c-7745-4db5-aa88-56cdc0183ba7" providerId="ADAL" clId="{C8CD02E3-132B-40F3-B6A0-926652F128C7}" dt="2024-11-30T22:57:01.928" v="22814"/>
          <ac:spMkLst>
            <pc:docMk/>
            <pc:sldMk cId="1670414324" sldId="265"/>
            <ac:spMk id="270" creationId="{1BF0AF3C-6979-E2B8-7220-D78C6D5C3934}"/>
          </ac:spMkLst>
        </pc:spChg>
        <pc:spChg chg="add mod">
          <ac:chgData name="PJ Grant" userId="21cab94c-7745-4db5-aa88-56cdc0183ba7" providerId="ADAL" clId="{C8CD02E3-132B-40F3-B6A0-926652F128C7}" dt="2024-11-30T22:59:36.399" v="23689"/>
          <ac:spMkLst>
            <pc:docMk/>
            <pc:sldMk cId="1670414324" sldId="265"/>
            <ac:spMk id="271" creationId="{E9C2A287-4DFA-238C-BC83-6C7205D07F7C}"/>
          </ac:spMkLst>
        </pc:spChg>
        <pc:spChg chg="add del mod modVis">
          <ac:chgData name="PJ Grant" userId="21cab94c-7745-4db5-aa88-56cdc0183ba7" providerId="ADAL" clId="{C8CD02E3-132B-40F3-B6A0-926652F128C7}" dt="2024-11-30T22:56:26.642" v="21584"/>
          <ac:spMkLst>
            <pc:docMk/>
            <pc:sldMk cId="1670414324" sldId="265"/>
            <ac:spMk id="272" creationId="{BF32078C-92E2-0B81-7614-43D0F0260DA0}"/>
          </ac:spMkLst>
        </pc:spChg>
        <pc:spChg chg="add del mod">
          <ac:chgData name="PJ Grant" userId="21cab94c-7745-4db5-aa88-56cdc0183ba7" providerId="ADAL" clId="{C8CD02E3-132B-40F3-B6A0-926652F128C7}" dt="2024-11-30T22:57:01.926" v="22813"/>
          <ac:spMkLst>
            <pc:docMk/>
            <pc:sldMk cId="1670414324" sldId="265"/>
            <ac:spMk id="274" creationId="{D1256AFB-C5F6-1138-8E0A-ED8B49D95393}"/>
          </ac:spMkLst>
        </pc:spChg>
        <pc:spChg chg="add mod">
          <ac:chgData name="PJ Grant" userId="21cab94c-7745-4db5-aa88-56cdc0183ba7" providerId="ADAL" clId="{C8CD02E3-132B-40F3-B6A0-926652F128C7}" dt="2024-11-30T22:59:36.399" v="23690"/>
          <ac:spMkLst>
            <pc:docMk/>
            <pc:sldMk cId="1670414324" sldId="265"/>
            <ac:spMk id="275" creationId="{AA6273B2-B43A-1E19-0CF8-F53249348294}"/>
          </ac:spMkLst>
        </pc:spChg>
        <pc:spChg chg="add del mod modVis">
          <ac:chgData name="PJ Grant" userId="21cab94c-7745-4db5-aa88-56cdc0183ba7" providerId="ADAL" clId="{C8CD02E3-132B-40F3-B6A0-926652F128C7}" dt="2024-11-30T22:56:29.695" v="21748"/>
          <ac:spMkLst>
            <pc:docMk/>
            <pc:sldMk cId="1670414324" sldId="265"/>
            <ac:spMk id="276" creationId="{FD461C13-9D46-F8E1-75E4-EF812E379C26}"/>
          </ac:spMkLst>
        </pc:spChg>
        <pc:spChg chg="add mod">
          <ac:chgData name="PJ Grant" userId="21cab94c-7745-4db5-aa88-56cdc0183ba7" providerId="ADAL" clId="{C8CD02E3-132B-40F3-B6A0-926652F128C7}" dt="2024-11-30T22:59:36.399" v="23691"/>
          <ac:spMkLst>
            <pc:docMk/>
            <pc:sldMk cId="1670414324" sldId="265"/>
            <ac:spMk id="278" creationId="{7DF745A9-BA37-700C-051E-04AFB939AB2F}"/>
          </ac:spMkLst>
        </pc:spChg>
        <pc:spChg chg="add del mod modVis">
          <ac:chgData name="PJ Grant" userId="21cab94c-7745-4db5-aa88-56cdc0183ba7" providerId="ADAL" clId="{C8CD02E3-132B-40F3-B6A0-926652F128C7}" dt="2024-11-30T22:56:35.945" v="21914"/>
          <ac:spMkLst>
            <pc:docMk/>
            <pc:sldMk cId="1670414324" sldId="265"/>
            <ac:spMk id="279" creationId="{8CC24D05-0FD3-486D-CD90-94C9B3832B6F}"/>
          </ac:spMkLst>
        </pc:spChg>
        <pc:spChg chg="add mod">
          <ac:chgData name="PJ Grant" userId="21cab94c-7745-4db5-aa88-56cdc0183ba7" providerId="ADAL" clId="{C8CD02E3-132B-40F3-B6A0-926652F128C7}" dt="2024-11-30T22:59:36.399" v="23692"/>
          <ac:spMkLst>
            <pc:docMk/>
            <pc:sldMk cId="1670414324" sldId="265"/>
            <ac:spMk id="281" creationId="{A3DEB2EF-8E00-CEB5-69F7-C03224F6F0E7}"/>
          </ac:spMkLst>
        </pc:spChg>
        <pc:spChg chg="add del mod modVis">
          <ac:chgData name="PJ Grant" userId="21cab94c-7745-4db5-aa88-56cdc0183ba7" providerId="ADAL" clId="{C8CD02E3-132B-40F3-B6A0-926652F128C7}" dt="2024-11-30T22:56:38.968" v="22082"/>
          <ac:spMkLst>
            <pc:docMk/>
            <pc:sldMk cId="1670414324" sldId="265"/>
            <ac:spMk id="282" creationId="{8B498197-756F-7A42-4295-45AA614D0812}"/>
          </ac:spMkLst>
        </pc:spChg>
        <pc:spChg chg="add del mod modVis">
          <ac:chgData name="PJ Grant" userId="21cab94c-7745-4db5-aa88-56cdc0183ba7" providerId="ADAL" clId="{C8CD02E3-132B-40F3-B6A0-926652F128C7}" dt="2024-11-30T22:56:48.481" v="22443"/>
          <ac:spMkLst>
            <pc:docMk/>
            <pc:sldMk cId="1670414324" sldId="265"/>
            <ac:spMk id="284" creationId="{1C111E87-205B-5DCA-A195-1A781C121697}"/>
          </ac:spMkLst>
        </pc:spChg>
        <pc:spChg chg="add del mod">
          <ac:chgData name="PJ Grant" userId="21cab94c-7745-4db5-aa88-56cdc0183ba7" providerId="ADAL" clId="{C8CD02E3-132B-40F3-B6A0-926652F128C7}" dt="2024-11-30T22:56:55.924" v="22587"/>
          <ac:spMkLst>
            <pc:docMk/>
            <pc:sldMk cId="1670414324" sldId="265"/>
            <ac:spMk id="285" creationId="{9C52C8B0-C207-6885-A7A5-33F2DF2685AD}"/>
          </ac:spMkLst>
        </pc:spChg>
        <pc:spChg chg="add del mod">
          <ac:chgData name="PJ Grant" userId="21cab94c-7745-4db5-aa88-56cdc0183ba7" providerId="ADAL" clId="{C8CD02E3-132B-40F3-B6A0-926652F128C7}" dt="2024-11-30T22:56:55.924" v="22585"/>
          <ac:spMkLst>
            <pc:docMk/>
            <pc:sldMk cId="1670414324" sldId="265"/>
            <ac:spMk id="286" creationId="{4EA5E3FB-6327-CFCF-24E6-A88382DD1B14}"/>
          </ac:spMkLst>
        </pc:spChg>
        <pc:spChg chg="add del mod">
          <ac:chgData name="PJ Grant" userId="21cab94c-7745-4db5-aa88-56cdc0183ba7" providerId="ADAL" clId="{C8CD02E3-132B-40F3-B6A0-926652F128C7}" dt="2024-11-30T22:56:55.923" v="22584"/>
          <ac:spMkLst>
            <pc:docMk/>
            <pc:sldMk cId="1670414324" sldId="265"/>
            <ac:spMk id="287" creationId="{81040BC9-3B87-5C5D-0092-552AC22EBA7F}"/>
          </ac:spMkLst>
        </pc:spChg>
        <pc:spChg chg="add del mod">
          <ac:chgData name="PJ Grant" userId="21cab94c-7745-4db5-aa88-56cdc0183ba7" providerId="ADAL" clId="{C8CD02E3-132B-40F3-B6A0-926652F128C7}" dt="2024-11-30T22:56:55.923" v="22583"/>
          <ac:spMkLst>
            <pc:docMk/>
            <pc:sldMk cId="1670414324" sldId="265"/>
            <ac:spMk id="288" creationId="{1A7CFB56-9F77-0286-9AD7-8E963583B521}"/>
          </ac:spMkLst>
        </pc:spChg>
        <pc:spChg chg="add del mod modVis">
          <ac:chgData name="PJ Grant" userId="21cab94c-7745-4db5-aa88-56cdc0183ba7" providerId="ADAL" clId="{C8CD02E3-132B-40F3-B6A0-926652F128C7}" dt="2024-11-30T22:56:53.098" v="22575"/>
          <ac:spMkLst>
            <pc:docMk/>
            <pc:sldMk cId="1670414324" sldId="265"/>
            <ac:spMk id="291" creationId="{972F808A-323E-2AC6-C2FD-0ACAC8CB09ED}"/>
          </ac:spMkLst>
        </pc:spChg>
        <pc:spChg chg="add del mod">
          <ac:chgData name="PJ Grant" userId="21cab94c-7745-4db5-aa88-56cdc0183ba7" providerId="ADAL" clId="{C8CD02E3-132B-40F3-B6A0-926652F128C7}" dt="2024-11-30T22:57:26.085" v="23211"/>
          <ac:spMkLst>
            <pc:docMk/>
            <pc:sldMk cId="1670414324" sldId="265"/>
            <ac:spMk id="297" creationId="{48419D99-2356-052C-4ADB-EB6533A64E65}"/>
          </ac:spMkLst>
        </pc:spChg>
        <pc:spChg chg="add del mod modVis">
          <ac:chgData name="PJ Grant" userId="21cab94c-7745-4db5-aa88-56cdc0183ba7" providerId="ADAL" clId="{C8CD02E3-132B-40F3-B6A0-926652F128C7}" dt="2024-11-30T22:57:17.931" v="23112"/>
          <ac:spMkLst>
            <pc:docMk/>
            <pc:sldMk cId="1670414324" sldId="265"/>
            <ac:spMk id="298" creationId="{0E685278-D522-B2FB-E025-63BDEE73DC71}"/>
          </ac:spMkLst>
        </pc:spChg>
        <pc:spChg chg="add del mod">
          <ac:chgData name="PJ Grant" userId="21cab94c-7745-4db5-aa88-56cdc0183ba7" providerId="ADAL" clId="{C8CD02E3-132B-40F3-B6A0-926652F128C7}" dt="2024-11-30T22:57:26.085" v="23209"/>
          <ac:spMkLst>
            <pc:docMk/>
            <pc:sldMk cId="1670414324" sldId="265"/>
            <ac:spMk id="299" creationId="{9467DF52-2873-B335-D39E-E94DE4FA8D7F}"/>
          </ac:spMkLst>
        </pc:spChg>
        <pc:spChg chg="add del mod">
          <ac:chgData name="PJ Grant" userId="21cab94c-7745-4db5-aa88-56cdc0183ba7" providerId="ADAL" clId="{C8CD02E3-132B-40F3-B6A0-926652F128C7}" dt="2024-11-30T22:57:26.085" v="23210"/>
          <ac:spMkLst>
            <pc:docMk/>
            <pc:sldMk cId="1670414324" sldId="265"/>
            <ac:spMk id="301" creationId="{3118CA8C-E545-6032-8949-0E30A54EAF41}"/>
          </ac:spMkLst>
        </pc:spChg>
        <pc:spChg chg="add del mod ord">
          <ac:chgData name="PJ Grant" userId="21cab94c-7745-4db5-aa88-56cdc0183ba7" providerId="ADAL" clId="{C8CD02E3-132B-40F3-B6A0-926652F128C7}" dt="2024-11-30T22:57:26.084" v="23208"/>
          <ac:spMkLst>
            <pc:docMk/>
            <pc:sldMk cId="1670414324" sldId="265"/>
            <ac:spMk id="302" creationId="{D54E7204-990E-BA8D-B1CC-1F57A0195658}"/>
          </ac:spMkLst>
        </pc:spChg>
        <pc:spChg chg="add del mod">
          <ac:chgData name="PJ Grant" userId="21cab94c-7745-4db5-aa88-56cdc0183ba7" providerId="ADAL" clId="{C8CD02E3-132B-40F3-B6A0-926652F128C7}" dt="2024-11-30T22:57:36.843" v="23219" actId="478"/>
          <ac:spMkLst>
            <pc:docMk/>
            <pc:sldMk cId="1670414324" sldId="265"/>
            <ac:spMk id="304" creationId="{E0CE503F-325F-AF7E-0128-DE4C550DCDA9}"/>
          </ac:spMkLst>
        </pc:spChg>
        <pc:spChg chg="add mod ord">
          <ac:chgData name="PJ Grant" userId="21cab94c-7745-4db5-aa88-56cdc0183ba7" providerId="ADAL" clId="{C8CD02E3-132B-40F3-B6A0-926652F128C7}" dt="2024-11-30T22:59:36.400" v="23694"/>
          <ac:spMkLst>
            <pc:docMk/>
            <pc:sldMk cId="1670414324" sldId="265"/>
            <ac:spMk id="305" creationId="{6BD9EE72-EDA0-7D79-5CA5-F84C47AC60B8}"/>
          </ac:spMkLst>
        </pc:spChg>
        <pc:spChg chg="add mod ord">
          <ac:chgData name="PJ Grant" userId="21cab94c-7745-4db5-aa88-56cdc0183ba7" providerId="ADAL" clId="{C8CD02E3-132B-40F3-B6A0-926652F128C7}" dt="2024-11-30T22:59:36.400" v="23696"/>
          <ac:spMkLst>
            <pc:docMk/>
            <pc:sldMk cId="1670414324" sldId="265"/>
            <ac:spMk id="306" creationId="{51624273-C614-E637-4E17-BE26B4A0F2B8}"/>
          </ac:spMkLst>
        </pc:spChg>
        <pc:spChg chg="add mod ord">
          <ac:chgData name="PJ Grant" userId="21cab94c-7745-4db5-aa88-56cdc0183ba7" providerId="ADAL" clId="{C8CD02E3-132B-40F3-B6A0-926652F128C7}" dt="2024-11-30T23:00:39.776" v="23717" actId="2085"/>
          <ac:spMkLst>
            <pc:docMk/>
            <pc:sldMk cId="1670414324" sldId="265"/>
            <ac:spMk id="309" creationId="{8A025C7C-E799-259D-EBE9-E5C82AD1CBD7}"/>
          </ac:spMkLst>
        </pc:spChg>
        <pc:spChg chg="add mod ord">
          <ac:chgData name="PJ Grant" userId="21cab94c-7745-4db5-aa88-56cdc0183ba7" providerId="ADAL" clId="{C8CD02E3-132B-40F3-B6A0-926652F128C7}" dt="2024-11-30T23:00:34.290" v="23716" actId="208"/>
          <ac:spMkLst>
            <pc:docMk/>
            <pc:sldMk cId="1670414324" sldId="265"/>
            <ac:spMk id="310" creationId="{1E9AD74D-57A9-403F-6E44-00907B832309}"/>
          </ac:spMkLst>
        </pc:spChg>
        <pc:spChg chg="add mod">
          <ac:chgData name="PJ Grant" userId="21cab94c-7745-4db5-aa88-56cdc0183ba7" providerId="ADAL" clId="{C8CD02E3-132B-40F3-B6A0-926652F128C7}" dt="2024-12-01T01:20:58.734" v="38190" actId="33524"/>
          <ac:spMkLst>
            <pc:docMk/>
            <pc:sldMk cId="1670414324" sldId="265"/>
            <ac:spMk id="318" creationId="{BBAF7ABA-6F13-9B6B-F3EA-71D809B575BC}"/>
          </ac:spMkLst>
        </pc:spChg>
        <pc:spChg chg="add del mod modVis">
          <ac:chgData name="PJ Grant" userId="21cab94c-7745-4db5-aa88-56cdc0183ba7" providerId="ADAL" clId="{C8CD02E3-132B-40F3-B6A0-926652F128C7}" dt="2024-12-01T00:55:27.785" v="35892"/>
          <ac:spMkLst>
            <pc:docMk/>
            <pc:sldMk cId="1670414324" sldId="265"/>
            <ac:spMk id="320" creationId="{6E838FC1-C567-8CA5-B7DB-34B234219F0A}"/>
          </ac:spMkLst>
        </pc:spChg>
        <pc:spChg chg="add del mod modVis">
          <ac:chgData name="PJ Grant" userId="21cab94c-7745-4db5-aa88-56cdc0183ba7" providerId="ADAL" clId="{C8CD02E3-132B-40F3-B6A0-926652F128C7}" dt="2024-12-01T00:55:31.378" v="35940"/>
          <ac:spMkLst>
            <pc:docMk/>
            <pc:sldMk cId="1670414324" sldId="265"/>
            <ac:spMk id="321" creationId="{1A683A27-5842-CCB3-6BA6-CAC13A2F70A6}"/>
          </ac:spMkLst>
        </pc:spChg>
        <pc:spChg chg="add del mod modVis">
          <ac:chgData name="PJ Grant" userId="21cab94c-7745-4db5-aa88-56cdc0183ba7" providerId="ADAL" clId="{C8CD02E3-132B-40F3-B6A0-926652F128C7}" dt="2024-12-01T00:55:35.897" v="35997"/>
          <ac:spMkLst>
            <pc:docMk/>
            <pc:sldMk cId="1670414324" sldId="265"/>
            <ac:spMk id="322" creationId="{D2D0AF05-40CF-9F21-3D0D-490C21E811EF}"/>
          </ac:spMkLst>
        </pc:spChg>
        <pc:spChg chg="add del mod modVis">
          <ac:chgData name="PJ Grant" userId="21cab94c-7745-4db5-aa88-56cdc0183ba7" providerId="ADAL" clId="{C8CD02E3-132B-40F3-B6A0-926652F128C7}" dt="2024-12-01T00:55:36.746" v="36041"/>
          <ac:spMkLst>
            <pc:docMk/>
            <pc:sldMk cId="1670414324" sldId="265"/>
            <ac:spMk id="323" creationId="{CB670330-A1C1-4E2A-73A5-A2C3CF79560B}"/>
          </ac:spMkLst>
        </pc:spChg>
        <pc:spChg chg="add del mod modVis">
          <ac:chgData name="PJ Grant" userId="21cab94c-7745-4db5-aa88-56cdc0183ba7" providerId="ADAL" clId="{C8CD02E3-132B-40F3-B6A0-926652F128C7}" dt="2024-12-01T00:55:39.184" v="36080"/>
          <ac:spMkLst>
            <pc:docMk/>
            <pc:sldMk cId="1670414324" sldId="265"/>
            <ac:spMk id="324" creationId="{EBFDA06D-055C-811E-7F33-1D4AF73408D8}"/>
          </ac:spMkLst>
        </pc:spChg>
        <pc:spChg chg="add del mod modVis">
          <ac:chgData name="PJ Grant" userId="21cab94c-7745-4db5-aa88-56cdc0183ba7" providerId="ADAL" clId="{C8CD02E3-132B-40F3-B6A0-926652F128C7}" dt="2024-12-01T00:55:43.093" v="36120"/>
          <ac:spMkLst>
            <pc:docMk/>
            <pc:sldMk cId="1670414324" sldId="265"/>
            <ac:spMk id="325" creationId="{D7C8CBD2-922C-3F7E-0E8D-42F878AA60AA}"/>
          </ac:spMkLst>
        </pc:spChg>
        <pc:spChg chg="add del mod modVis">
          <ac:chgData name="PJ Grant" userId="21cab94c-7745-4db5-aa88-56cdc0183ba7" providerId="ADAL" clId="{C8CD02E3-132B-40F3-B6A0-926652F128C7}" dt="2024-12-01T00:55:45.718" v="36166"/>
          <ac:spMkLst>
            <pc:docMk/>
            <pc:sldMk cId="1670414324" sldId="265"/>
            <ac:spMk id="326" creationId="{77F99522-7725-325E-CC38-36839C62A53E}"/>
          </ac:spMkLst>
        </pc:spChg>
        <pc:spChg chg="add del mod modVis">
          <ac:chgData name="PJ Grant" userId="21cab94c-7745-4db5-aa88-56cdc0183ba7" providerId="ADAL" clId="{C8CD02E3-132B-40F3-B6A0-926652F128C7}" dt="2024-12-01T00:55:47.029" v="36201"/>
          <ac:spMkLst>
            <pc:docMk/>
            <pc:sldMk cId="1670414324" sldId="265"/>
            <ac:spMk id="327" creationId="{C346E27D-EEF2-9964-1F87-DC919FE08C16}"/>
          </ac:spMkLst>
        </pc:spChg>
        <pc:spChg chg="add del mod modVis">
          <ac:chgData name="PJ Grant" userId="21cab94c-7745-4db5-aa88-56cdc0183ba7" providerId="ADAL" clId="{C8CD02E3-132B-40F3-B6A0-926652F128C7}" dt="2024-12-01T00:55:48.600" v="36231"/>
          <ac:spMkLst>
            <pc:docMk/>
            <pc:sldMk cId="1670414324" sldId="265"/>
            <ac:spMk id="328" creationId="{39B8642A-AC51-9034-58C0-22AAC93E4107}"/>
          </ac:spMkLst>
        </pc:spChg>
        <pc:spChg chg="add del mod modVis">
          <ac:chgData name="PJ Grant" userId="21cab94c-7745-4db5-aa88-56cdc0183ba7" providerId="ADAL" clId="{C8CD02E3-132B-40F3-B6A0-926652F128C7}" dt="2024-12-01T00:55:50.590" v="36272"/>
          <ac:spMkLst>
            <pc:docMk/>
            <pc:sldMk cId="1670414324" sldId="265"/>
            <ac:spMk id="329" creationId="{8FEDDFD5-010E-3634-BF05-2093130FAE7B}"/>
          </ac:spMkLst>
        </pc:spChg>
        <pc:spChg chg="add del mod modVis">
          <ac:chgData name="PJ Grant" userId="21cab94c-7745-4db5-aa88-56cdc0183ba7" providerId="ADAL" clId="{C8CD02E3-132B-40F3-B6A0-926652F128C7}" dt="2024-12-01T00:55:52.959" v="36308"/>
          <ac:spMkLst>
            <pc:docMk/>
            <pc:sldMk cId="1670414324" sldId="265"/>
            <ac:spMk id="330" creationId="{7CCB7B13-6F15-AA68-FC21-15A26712842A}"/>
          </ac:spMkLst>
        </pc:spChg>
        <pc:spChg chg="add del mod modVis">
          <ac:chgData name="PJ Grant" userId="21cab94c-7745-4db5-aa88-56cdc0183ba7" providerId="ADAL" clId="{C8CD02E3-132B-40F3-B6A0-926652F128C7}" dt="2024-12-01T00:55:54.706" v="36343"/>
          <ac:spMkLst>
            <pc:docMk/>
            <pc:sldMk cId="1670414324" sldId="265"/>
            <ac:spMk id="331" creationId="{F1735EC1-A1C5-8B68-19E2-EEB9091D1DFE}"/>
          </ac:spMkLst>
        </pc:spChg>
        <pc:spChg chg="add del mod modVis">
          <ac:chgData name="PJ Grant" userId="21cab94c-7745-4db5-aa88-56cdc0183ba7" providerId="ADAL" clId="{C8CD02E3-132B-40F3-B6A0-926652F128C7}" dt="2024-12-01T00:55:55.485" v="36373"/>
          <ac:spMkLst>
            <pc:docMk/>
            <pc:sldMk cId="1670414324" sldId="265"/>
            <ac:spMk id="332" creationId="{E0F93C92-6E52-7CDB-802B-9533736306A7}"/>
          </ac:spMkLst>
        </pc:spChg>
        <pc:spChg chg="add del mod modVis">
          <ac:chgData name="PJ Grant" userId="21cab94c-7745-4db5-aa88-56cdc0183ba7" providerId="ADAL" clId="{C8CD02E3-132B-40F3-B6A0-926652F128C7}" dt="2024-12-01T00:55:58.541" v="36411"/>
          <ac:spMkLst>
            <pc:docMk/>
            <pc:sldMk cId="1670414324" sldId="265"/>
            <ac:spMk id="333" creationId="{5358F14E-F6BD-BC6B-A1D4-D010319899FD}"/>
          </ac:spMkLst>
        </pc:spChg>
        <pc:spChg chg="add del mod modVis">
          <ac:chgData name="PJ Grant" userId="21cab94c-7745-4db5-aa88-56cdc0183ba7" providerId="ADAL" clId="{C8CD02E3-132B-40F3-B6A0-926652F128C7}" dt="2024-12-01T00:56:00.462" v="36446"/>
          <ac:spMkLst>
            <pc:docMk/>
            <pc:sldMk cId="1670414324" sldId="265"/>
            <ac:spMk id="334" creationId="{F53E0083-F82E-B9E5-1226-7293FD0E432A}"/>
          </ac:spMkLst>
        </pc:spChg>
        <pc:spChg chg="add del mod modVis">
          <ac:chgData name="PJ Grant" userId="21cab94c-7745-4db5-aa88-56cdc0183ba7" providerId="ADAL" clId="{C8CD02E3-132B-40F3-B6A0-926652F128C7}" dt="2024-12-01T00:56:03.727" v="36486"/>
          <ac:spMkLst>
            <pc:docMk/>
            <pc:sldMk cId="1670414324" sldId="265"/>
            <ac:spMk id="335" creationId="{0036C52F-F590-5E69-2FF2-07AFB4AD35BE}"/>
          </ac:spMkLst>
        </pc:spChg>
        <pc:spChg chg="add del mod modVis">
          <ac:chgData name="PJ Grant" userId="21cab94c-7745-4db5-aa88-56cdc0183ba7" providerId="ADAL" clId="{C8CD02E3-132B-40F3-B6A0-926652F128C7}" dt="2024-12-01T00:56:04.958" v="36516"/>
          <ac:spMkLst>
            <pc:docMk/>
            <pc:sldMk cId="1670414324" sldId="265"/>
            <ac:spMk id="336" creationId="{6D480141-3854-B082-B23B-30EADB7B6347}"/>
          </ac:spMkLst>
        </pc:spChg>
        <pc:spChg chg="add del mod modVis">
          <ac:chgData name="PJ Grant" userId="21cab94c-7745-4db5-aa88-56cdc0183ba7" providerId="ADAL" clId="{C8CD02E3-132B-40F3-B6A0-926652F128C7}" dt="2024-12-01T00:56:07.530" v="36557"/>
          <ac:spMkLst>
            <pc:docMk/>
            <pc:sldMk cId="1670414324" sldId="265"/>
            <ac:spMk id="337" creationId="{F7D9A562-00CC-F5C1-1864-11800564CA4D}"/>
          </ac:spMkLst>
        </pc:spChg>
        <pc:spChg chg="add del mod modVis">
          <ac:chgData name="PJ Grant" userId="21cab94c-7745-4db5-aa88-56cdc0183ba7" providerId="ADAL" clId="{C8CD02E3-132B-40F3-B6A0-926652F128C7}" dt="2024-12-01T00:56:12.281" v="36611"/>
          <ac:spMkLst>
            <pc:docMk/>
            <pc:sldMk cId="1670414324" sldId="265"/>
            <ac:spMk id="338" creationId="{84520244-41CE-7A06-BC5F-769E3BED142D}"/>
          </ac:spMkLst>
        </pc:spChg>
        <pc:spChg chg="add del mod modVis">
          <ac:chgData name="PJ Grant" userId="21cab94c-7745-4db5-aa88-56cdc0183ba7" providerId="ADAL" clId="{C8CD02E3-132B-40F3-B6A0-926652F128C7}" dt="2024-12-01T00:56:14.430" v="36648"/>
          <ac:spMkLst>
            <pc:docMk/>
            <pc:sldMk cId="1670414324" sldId="265"/>
            <ac:spMk id="339" creationId="{0219E398-745F-522D-EA39-68B129A3F4FF}"/>
          </ac:spMkLst>
        </pc:spChg>
        <pc:spChg chg="add del mod modVis">
          <ac:chgData name="PJ Grant" userId="21cab94c-7745-4db5-aa88-56cdc0183ba7" providerId="ADAL" clId="{C8CD02E3-132B-40F3-B6A0-926652F128C7}" dt="2024-12-01T00:56:17.758" v="36687"/>
          <ac:spMkLst>
            <pc:docMk/>
            <pc:sldMk cId="1670414324" sldId="265"/>
            <ac:spMk id="340" creationId="{2F14D74D-3FF3-AF0A-8325-C36E6C81BB1C}"/>
          </ac:spMkLst>
        </pc:spChg>
        <pc:spChg chg="add del mod modVis">
          <ac:chgData name="PJ Grant" userId="21cab94c-7745-4db5-aa88-56cdc0183ba7" providerId="ADAL" clId="{C8CD02E3-132B-40F3-B6A0-926652F128C7}" dt="2024-12-01T00:56:19.925" v="36724"/>
          <ac:spMkLst>
            <pc:docMk/>
            <pc:sldMk cId="1670414324" sldId="265"/>
            <ac:spMk id="341" creationId="{B0367497-9DE5-68D0-1586-D57BB75C1A25}"/>
          </ac:spMkLst>
        </pc:spChg>
        <pc:spChg chg="add del mod modVis">
          <ac:chgData name="PJ Grant" userId="21cab94c-7745-4db5-aa88-56cdc0183ba7" providerId="ADAL" clId="{C8CD02E3-132B-40F3-B6A0-926652F128C7}" dt="2024-12-01T00:56:20.998" v="36752"/>
          <ac:spMkLst>
            <pc:docMk/>
            <pc:sldMk cId="1670414324" sldId="265"/>
            <ac:spMk id="342" creationId="{74197C56-B4D7-05E3-A9E4-5FE09DC96244}"/>
          </ac:spMkLst>
        </pc:spChg>
        <pc:spChg chg="add del mod">
          <ac:chgData name="PJ Grant" userId="21cab94c-7745-4db5-aa88-56cdc0183ba7" providerId="ADAL" clId="{C8CD02E3-132B-40F3-B6A0-926652F128C7}" dt="2024-12-01T01:08:28.292" v="37122" actId="478"/>
          <ac:spMkLst>
            <pc:docMk/>
            <pc:sldMk cId="1670414324" sldId="265"/>
            <ac:spMk id="343" creationId="{740BAA3A-C85C-23BA-434C-48526004AFEE}"/>
          </ac:spMkLst>
        </pc:spChg>
        <pc:grpChg chg="add mod">
          <ac:chgData name="PJ Grant" userId="21cab94c-7745-4db5-aa88-56cdc0183ba7" providerId="ADAL" clId="{C8CD02E3-132B-40F3-B6A0-926652F128C7}" dt="2024-11-30T23:07:19.154" v="26183" actId="1076"/>
          <ac:grpSpMkLst>
            <pc:docMk/>
            <pc:sldMk cId="1670414324" sldId="265"/>
            <ac:grpSpMk id="311" creationId="{6CEF88A4-ECCF-FD27-59E7-2B8D5E186310}"/>
          </ac:grpSpMkLst>
        </pc:grpChg>
        <pc:graphicFrameChg chg="mod">
          <ac:chgData name="PJ Grant" userId="21cab94c-7745-4db5-aa88-56cdc0183ba7" providerId="ADAL" clId="{C8CD02E3-132B-40F3-B6A0-926652F128C7}" dt="2024-12-01T00:56:25.208" v="36760"/>
          <ac:graphicFrameMkLst>
            <pc:docMk/>
            <pc:sldMk cId="1670414324" sldId="265"/>
            <ac:graphicFrameMk id="5" creationId="{4EA42FAB-65BD-F237-2CA8-B2B9F7D8BD5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08.201" v="10653"/>
          <ac:graphicFrameMkLst>
            <pc:docMk/>
            <pc:sldMk cId="1670414324" sldId="265"/>
            <ac:graphicFrameMk id="8" creationId="{A66F9C61-3CB2-9DF8-2E3C-8E414EA098E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12.024" v="10755"/>
          <ac:graphicFrameMkLst>
            <pc:docMk/>
            <pc:sldMk cId="1670414324" sldId="265"/>
            <ac:graphicFrameMk id="14" creationId="{81A4A973-DE16-1453-5568-7751ACA6EBF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13.268" v="10861"/>
          <ac:graphicFrameMkLst>
            <pc:docMk/>
            <pc:sldMk cId="1670414324" sldId="265"/>
            <ac:graphicFrameMk id="17" creationId="{FAEDA5E4-1AE9-767A-AB9D-B6912198B14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38.569" v="10991"/>
          <ac:graphicFrameMkLst>
            <pc:docMk/>
            <pc:sldMk cId="1670414324" sldId="265"/>
            <ac:graphicFrameMk id="20" creationId="{62A1F36D-D765-8DC8-6FBC-03A6506138B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42.591" v="11060"/>
          <ac:graphicFrameMkLst>
            <pc:docMk/>
            <pc:sldMk cId="1670414324" sldId="265"/>
            <ac:graphicFrameMk id="21" creationId="{DF7E27CD-42C2-8D3D-07A2-25D2BCE0D59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47.287" v="11129"/>
          <ac:graphicFrameMkLst>
            <pc:docMk/>
            <pc:sldMk cId="1670414324" sldId="265"/>
            <ac:graphicFrameMk id="22" creationId="{E2BBD1BC-323B-4BFE-C3D4-9DDDB5A0434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48.939" v="11266"/>
          <ac:graphicFrameMkLst>
            <pc:docMk/>
            <pc:sldMk cId="1670414324" sldId="265"/>
            <ac:graphicFrameMk id="23" creationId="{05140267-0688-CA3F-C40E-193A9861107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50.353" v="11428"/>
          <ac:graphicFrameMkLst>
            <pc:docMk/>
            <pc:sldMk cId="1670414324" sldId="265"/>
            <ac:graphicFrameMk id="25" creationId="{9CB0B366-1C23-9452-83CE-BBF7A4A4712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51.850" v="11526"/>
          <ac:graphicFrameMkLst>
            <pc:docMk/>
            <pc:sldMk cId="1670414324" sldId="265"/>
            <ac:graphicFrameMk id="28" creationId="{52BCE8B3-5BE5-65FF-FFDB-3FF833702DD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5:55.810" v="11592"/>
          <ac:graphicFrameMkLst>
            <pc:docMk/>
            <pc:sldMk cId="1670414324" sldId="265"/>
            <ac:graphicFrameMk id="29" creationId="{44AF5E10-29DC-2303-46CC-3A18BF0D04D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6:00.506" v="11671"/>
          <ac:graphicFrameMkLst>
            <pc:docMk/>
            <pc:sldMk cId="1670414324" sldId="265"/>
            <ac:graphicFrameMk id="30" creationId="{2D246C19-DABF-DEB9-DDD1-D2617022334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6:04.859" v="11734"/>
          <ac:graphicFrameMkLst>
            <pc:docMk/>
            <pc:sldMk cId="1670414324" sldId="265"/>
            <ac:graphicFrameMk id="32" creationId="{94F2FC1D-E22E-E024-A7D7-5F0338C8ABD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7:05.110" v="12047"/>
          <ac:graphicFrameMkLst>
            <pc:docMk/>
            <pc:sldMk cId="1670414324" sldId="265"/>
            <ac:graphicFrameMk id="33" creationId="{3B0FEE68-4315-B945-C915-5101343724A9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2:46:09.180" v="11921"/>
          <ac:graphicFrameMkLst>
            <pc:docMk/>
            <pc:sldMk cId="1670414324" sldId="265"/>
            <ac:graphicFrameMk id="34" creationId="{709FF6E9-F966-EC86-D1CF-D02CE91E7BE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7:40.558" v="12312"/>
          <ac:graphicFrameMkLst>
            <pc:docMk/>
            <pc:sldMk cId="1670414324" sldId="265"/>
            <ac:graphicFrameMk id="42" creationId="{24509241-7423-8163-4F4B-C72E1E2555F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7:07.739" v="12119"/>
          <ac:graphicFrameMkLst>
            <pc:docMk/>
            <pc:sldMk cId="1670414324" sldId="265"/>
            <ac:graphicFrameMk id="44" creationId="{FF8CABF8-E631-5F8C-5783-F3E7EC3C6E7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7:09.962" v="12189"/>
          <ac:graphicFrameMkLst>
            <pc:docMk/>
            <pc:sldMk cId="1670414324" sldId="265"/>
            <ac:graphicFrameMk id="45" creationId="{7B3C6E95-DA38-D9FC-610E-6926B796A176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7:37.105" v="12253"/>
          <ac:graphicFrameMkLst>
            <pc:docMk/>
            <pc:sldMk cId="1670414324" sldId="265"/>
            <ac:graphicFrameMk id="46" creationId="{38A0294C-9AF7-84B5-726D-8C3BCCD9311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7:44.742" v="12323"/>
          <ac:graphicFrameMkLst>
            <pc:docMk/>
            <pc:sldMk cId="1670414324" sldId="265"/>
            <ac:graphicFrameMk id="47" creationId="{540AC429-3418-03E8-B980-869F7CD70EA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9:42.020" v="12769"/>
          <ac:graphicFrameMkLst>
            <pc:docMk/>
            <pc:sldMk cId="1670414324" sldId="265"/>
            <ac:graphicFrameMk id="48" creationId="{B2AFA59A-B371-398D-C325-6C846841F75E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2:47:54.904" v="12453"/>
          <ac:graphicFrameMkLst>
            <pc:docMk/>
            <pc:sldMk cId="1670414324" sldId="265"/>
            <ac:graphicFrameMk id="49" creationId="{32AD3B89-079F-2B9F-E95A-91D7825420F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9:44.371" v="12876"/>
          <ac:graphicFrameMkLst>
            <pc:docMk/>
            <pc:sldMk cId="1670414324" sldId="265"/>
            <ac:graphicFrameMk id="55" creationId="{0B5D02DD-6472-D632-3065-67269A532D34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2:49:39.407" v="12703"/>
          <ac:graphicFrameMkLst>
            <pc:docMk/>
            <pc:sldMk cId="1670414324" sldId="265"/>
            <ac:graphicFrameMk id="58" creationId="{793AB3AA-1E9F-3C5C-E0DD-2A3747CC21BC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2:49:39.407" v="12703"/>
          <ac:graphicFrameMkLst>
            <pc:docMk/>
            <pc:sldMk cId="1670414324" sldId="265"/>
            <ac:graphicFrameMk id="59" creationId="{5471B45E-B382-89BF-784B-094BA0345D2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9:52.794" v="12942"/>
          <ac:graphicFrameMkLst>
            <pc:docMk/>
            <pc:sldMk cId="1670414324" sldId="265"/>
            <ac:graphicFrameMk id="61" creationId="{4D069381-C914-4D11-F3E4-AC278279168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49:52.829" v="12961"/>
          <ac:graphicFrameMkLst>
            <pc:docMk/>
            <pc:sldMk cId="1670414324" sldId="265"/>
            <ac:graphicFrameMk id="63" creationId="{58178C85-E6D7-DD5E-2D2B-7329CF6C8A5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2:23.306" v="13238"/>
          <ac:graphicFrameMkLst>
            <pc:docMk/>
            <pc:sldMk cId="1670414324" sldId="265"/>
            <ac:graphicFrameMk id="64" creationId="{D5AD5AEB-280E-D3B8-EA58-DB230282C5F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16.664" v="18068"/>
          <ac:graphicFrameMkLst>
            <pc:docMk/>
            <pc:sldMk cId="1670414324" sldId="265"/>
            <ac:graphicFrameMk id="65" creationId="{9A57D795-4EFD-73E7-E16A-3756A14004E7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2:51:58.189" v="13140"/>
          <ac:graphicFrameMkLst>
            <pc:docMk/>
            <pc:sldMk cId="1670414324" sldId="265"/>
            <ac:graphicFrameMk id="72" creationId="{B8F98674-CD49-AF2A-80F2-FC1C8DABE42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2:33.536" v="13390"/>
          <ac:graphicFrameMkLst>
            <pc:docMk/>
            <pc:sldMk cId="1670414324" sldId="265"/>
            <ac:graphicFrameMk id="74" creationId="{32963765-F340-62D8-8D10-16EB210DB2E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2:47.367" v="13511"/>
          <ac:graphicFrameMkLst>
            <pc:docMk/>
            <pc:sldMk cId="1670414324" sldId="265"/>
            <ac:graphicFrameMk id="77" creationId="{E8431EC2-EE77-4546-E585-C6BC9221858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08.495" v="13607"/>
          <ac:graphicFrameMkLst>
            <pc:docMk/>
            <pc:sldMk cId="1670414324" sldId="265"/>
            <ac:graphicFrameMk id="80" creationId="{A1CE67DF-E8B6-DC0E-C40F-93E2503C735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10.365" v="13754"/>
          <ac:graphicFrameMkLst>
            <pc:docMk/>
            <pc:sldMk cId="1670414324" sldId="265"/>
            <ac:graphicFrameMk id="82" creationId="{F14DC87F-BC91-BE2C-F1C6-664E4B8B204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11.296" v="13865"/>
          <ac:graphicFrameMkLst>
            <pc:docMk/>
            <pc:sldMk cId="1670414324" sldId="265"/>
            <ac:graphicFrameMk id="85" creationId="{F795B2B8-35CF-1BF7-7497-3CCB43BA1DE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12.399" v="13967"/>
          <ac:graphicFrameMkLst>
            <pc:docMk/>
            <pc:sldMk cId="1670414324" sldId="265"/>
            <ac:graphicFrameMk id="87" creationId="{74F34D5E-BB5E-F9CF-1AE7-0B266E67299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13.412" v="14067"/>
          <ac:graphicFrameMkLst>
            <pc:docMk/>
            <pc:sldMk cId="1670414324" sldId="265"/>
            <ac:graphicFrameMk id="89" creationId="{A02CAEBF-B606-5B9C-5D36-D105F7BA372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18.865" v="14172"/>
          <ac:graphicFrameMkLst>
            <pc:docMk/>
            <pc:sldMk cId="1670414324" sldId="265"/>
            <ac:graphicFrameMk id="91" creationId="{2F16E802-AD4A-24C2-6FA9-4FE9EDD94AE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20.762" v="14277"/>
          <ac:graphicFrameMkLst>
            <pc:docMk/>
            <pc:sldMk cId="1670414324" sldId="265"/>
            <ac:graphicFrameMk id="93" creationId="{FF868D84-E975-7BFD-FEE1-0C853E0E84A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22.572" v="14642"/>
          <ac:graphicFrameMkLst>
            <pc:docMk/>
            <pc:sldMk cId="1670414324" sldId="265"/>
            <ac:graphicFrameMk id="95" creationId="{62B5F52A-BDB6-7C27-7068-085E25A9036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23.552" v="14757"/>
          <ac:graphicFrameMkLst>
            <pc:docMk/>
            <pc:sldMk cId="1670414324" sldId="265"/>
            <ac:graphicFrameMk id="103" creationId="{FA708787-3F42-D269-681B-C4A204BDBFA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25.645" v="15132"/>
          <ac:graphicFrameMkLst>
            <pc:docMk/>
            <pc:sldMk cId="1670414324" sldId="265"/>
            <ac:graphicFrameMk id="105" creationId="{F1DD1E65-BE5E-670F-9273-2EA45257370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29.601" v="15325"/>
          <ac:graphicFrameMkLst>
            <pc:docMk/>
            <pc:sldMk cId="1670414324" sldId="265"/>
            <ac:graphicFrameMk id="119" creationId="{C92ABC7C-E749-EA4E-2273-D7E2F256A3F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31.579" v="15452"/>
          <ac:graphicFrameMkLst>
            <pc:docMk/>
            <pc:sldMk cId="1670414324" sldId="265"/>
            <ac:graphicFrameMk id="121" creationId="{5E762475-F0F7-9D18-EE70-8D8D889FB26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3:36.103" v="15583"/>
          <ac:graphicFrameMkLst>
            <pc:docMk/>
            <pc:sldMk cId="1670414324" sldId="265"/>
            <ac:graphicFrameMk id="123" creationId="{03754FA2-AF8B-D1F1-807C-77488126D93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4:37.272" v="15712"/>
          <ac:graphicFrameMkLst>
            <pc:docMk/>
            <pc:sldMk cId="1670414324" sldId="265"/>
            <ac:graphicFrameMk id="125" creationId="{070E2BB5-329F-5DA8-D1ED-4A0FADD64F0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4:42.630" v="16325"/>
          <ac:graphicFrameMkLst>
            <pc:docMk/>
            <pc:sldMk cId="1670414324" sldId="265"/>
            <ac:graphicFrameMk id="130" creationId="{7BB282E1-A1CA-8AA3-D42A-81DDA52C5F5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4:51.179" v="16770"/>
          <ac:graphicFrameMkLst>
            <pc:docMk/>
            <pc:sldMk cId="1670414324" sldId="265"/>
            <ac:graphicFrameMk id="146" creationId="{586D67E2-DB64-CCFA-474B-E9FB1BCA21D4}"/>
          </ac:graphicFrameMkLst>
        </pc:graphicFrameChg>
        <pc:graphicFrameChg chg="del">
          <ac:chgData name="PJ Grant" userId="21cab94c-7745-4db5-aa88-56cdc0183ba7" providerId="ADAL" clId="{C8CD02E3-132B-40F3-B6A0-926652F128C7}" dt="2024-11-30T22:45:05.734" v="10560"/>
          <ac:graphicFrameMkLst>
            <pc:docMk/>
            <pc:sldMk cId="1670414324" sldId="265"/>
            <ac:graphicFrameMk id="150" creationId="{59EAAAEC-D479-6603-19CF-EB7AD9A7F4F4}"/>
          </ac:graphicFrameMkLst>
        </pc:graphicFrameChg>
        <pc:graphicFrameChg chg="del mod ord">
          <ac:chgData name="PJ Grant" userId="21cab94c-7745-4db5-aa88-56cdc0183ba7" providerId="ADAL" clId="{C8CD02E3-132B-40F3-B6A0-926652F128C7}" dt="2024-11-30T22:45:38.552" v="10972"/>
          <ac:graphicFrameMkLst>
            <pc:docMk/>
            <pc:sldMk cId="1670414324" sldId="265"/>
            <ac:graphicFrameMk id="158" creationId="{B64C61C2-025E-9282-243D-5B665D50A6A6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4:57.304" v="16960"/>
          <ac:graphicFrameMkLst>
            <pc:docMk/>
            <pc:sldMk cId="1670414324" sldId="265"/>
            <ac:graphicFrameMk id="163" creationId="{F31F1597-7FF2-8551-D6A3-5BD144A502A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02.883" v="17571"/>
          <ac:graphicFrameMkLst>
            <pc:docMk/>
            <pc:sldMk cId="1670414324" sldId="265"/>
            <ac:graphicFrameMk id="168" creationId="{E3A1636C-8F1B-4369-A4E8-AC80F13273D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03.551" v="17807"/>
          <ac:graphicFrameMkLst>
            <pc:docMk/>
            <pc:sldMk cId="1670414324" sldId="265"/>
            <ac:graphicFrameMk id="184" creationId="{7927D5B5-6682-E197-F09E-B53E765C1AE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04.881" v="17983"/>
          <ac:graphicFrameMkLst>
            <pc:docMk/>
            <pc:sldMk cId="1670414324" sldId="265"/>
            <ac:graphicFrameMk id="191" creationId="{4A69D6FF-4F33-C39E-514B-DF3490E68D5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16.713" v="18138"/>
          <ac:graphicFrameMkLst>
            <pc:docMk/>
            <pc:sldMk cId="1670414324" sldId="265"/>
            <ac:graphicFrameMk id="194" creationId="{3D486C20-F467-3921-6818-F5A07B40155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20.918" v="18280"/>
          <ac:graphicFrameMkLst>
            <pc:docMk/>
            <pc:sldMk cId="1670414324" sldId="265"/>
            <ac:graphicFrameMk id="196" creationId="{514B569E-5053-F3FA-676F-C587F65FD43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30.087" v="18397"/>
          <ac:graphicFrameMkLst>
            <pc:docMk/>
            <pc:sldMk cId="1670414324" sldId="265"/>
            <ac:graphicFrameMk id="198" creationId="{533B1419-11CF-7EF2-8984-9CF70D382BA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5:35.417" v="18517"/>
          <ac:graphicFrameMkLst>
            <pc:docMk/>
            <pc:sldMk cId="1670414324" sldId="265"/>
            <ac:graphicFrameMk id="200" creationId="{397F6308-7ADB-B3D7-7213-A6222632B8A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48.385" v="22336"/>
          <ac:graphicFrameMkLst>
            <pc:docMk/>
            <pc:sldMk cId="1670414324" sldId="265"/>
            <ac:graphicFrameMk id="202" creationId="{8638E002-0DF8-49E3-D00A-7B60FB21736E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2:55:52.024" v="19118"/>
          <ac:graphicFrameMkLst>
            <pc:docMk/>
            <pc:sldMk cId="1670414324" sldId="265"/>
            <ac:graphicFrameMk id="204" creationId="{04E37D1F-518B-E27D-AD91-466576C7AA0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09.456" v="19293"/>
          <ac:graphicFrameMkLst>
            <pc:docMk/>
            <pc:sldMk cId="1670414324" sldId="265"/>
            <ac:graphicFrameMk id="228" creationId="{0E12907B-198C-83CD-3BB7-FFD5B80D187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12.317" v="19941"/>
          <ac:graphicFrameMkLst>
            <pc:docMk/>
            <pc:sldMk cId="1670414324" sldId="265"/>
            <ac:graphicFrameMk id="230" creationId="{4ADB0138-ED7E-6EB6-2E4A-A077A882587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15.204" v="20646"/>
          <ac:graphicFrameMkLst>
            <pc:docMk/>
            <pc:sldMk cId="1670414324" sldId="265"/>
            <ac:graphicFrameMk id="242" creationId="{FF82A240-C2F8-B80C-151B-340C9F993A1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16.574" v="20981"/>
          <ac:graphicFrameMkLst>
            <pc:docMk/>
            <pc:sldMk cId="1670414324" sldId="265"/>
            <ac:graphicFrameMk id="256" creationId="{B58056B5-E049-65C7-1B84-C7A99C355BA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18.954" v="21135"/>
          <ac:graphicFrameMkLst>
            <pc:docMk/>
            <pc:sldMk cId="1670414324" sldId="265"/>
            <ac:graphicFrameMk id="263" creationId="{96802C79-ACA5-E077-7CEB-2D3A3BF5DF8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21.683" v="21291"/>
          <ac:graphicFrameMkLst>
            <pc:docMk/>
            <pc:sldMk cId="1670414324" sldId="265"/>
            <ac:graphicFrameMk id="266" creationId="{D5DF6A79-B644-ECA7-E5E2-C4F95A4DC7B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26.491" v="21482"/>
          <ac:graphicFrameMkLst>
            <pc:docMk/>
            <pc:sldMk cId="1670414324" sldId="265"/>
            <ac:graphicFrameMk id="269" creationId="{15B11044-4A94-0173-CAF6-A7180FD58F4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29.569" v="21664"/>
          <ac:graphicFrameMkLst>
            <pc:docMk/>
            <pc:sldMk cId="1670414324" sldId="265"/>
            <ac:graphicFrameMk id="273" creationId="{7638D990-5FA2-3EE9-3D50-C798BD81F14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35.787" v="21829"/>
          <ac:graphicFrameMkLst>
            <pc:docMk/>
            <pc:sldMk cId="1670414324" sldId="265"/>
            <ac:graphicFrameMk id="277" creationId="{E47773CF-9D38-B488-8ED9-8D932B5C2B1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38.814" v="21996"/>
          <ac:graphicFrameMkLst>
            <pc:docMk/>
            <pc:sldMk cId="1670414324" sldId="265"/>
            <ac:graphicFrameMk id="280" creationId="{7266F33A-C654-8611-6D94-8C5E4DB1CDF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48.433" v="22361"/>
          <ac:graphicFrameMkLst>
            <pc:docMk/>
            <pc:sldMk cId="1670414324" sldId="265"/>
            <ac:graphicFrameMk id="283" creationId="{F064D97C-37B9-DAD6-3658-B45A70451C6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55.936" v="22606"/>
          <ac:graphicFrameMkLst>
            <pc:docMk/>
            <pc:sldMk cId="1670414324" sldId="265"/>
            <ac:graphicFrameMk id="289" creationId="{6E9A62DA-BD28-B3ED-F238-B84A97F63AF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53.048" v="22499"/>
          <ac:graphicFrameMkLst>
            <pc:docMk/>
            <pc:sldMk cId="1670414324" sldId="265"/>
            <ac:graphicFrameMk id="290" creationId="{FA1FDC47-F753-C954-9994-97DA83748B5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55.987" v="22641"/>
          <ac:graphicFrameMkLst>
            <pc:docMk/>
            <pc:sldMk cId="1670414324" sldId="265"/>
            <ac:graphicFrameMk id="292" creationId="{0ECB8669-E696-DFDA-BDAD-4A6B8830786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6:59.377" v="22742"/>
          <ac:graphicFrameMkLst>
            <pc:docMk/>
            <pc:sldMk cId="1670414324" sldId="265"/>
            <ac:graphicFrameMk id="293" creationId="{6CE89E6A-2A74-A91B-A5C8-4E3ACB09712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7:11.363" v="22838"/>
          <ac:graphicFrameMkLst>
            <pc:docMk/>
            <pc:sldMk cId="1670414324" sldId="265"/>
            <ac:graphicFrameMk id="294" creationId="{7B4BE47F-C507-3E7E-EA1F-0D2FBE37858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8:19.840" v="23260"/>
          <ac:graphicFrameMkLst>
            <pc:docMk/>
            <pc:sldMk cId="1670414324" sldId="265"/>
            <ac:graphicFrameMk id="295" creationId="{8A3EE9A6-C342-A948-4D56-BA20FC6C6B0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7:17.860" v="23000"/>
          <ac:graphicFrameMkLst>
            <pc:docMk/>
            <pc:sldMk cId="1670414324" sldId="265"/>
            <ac:graphicFrameMk id="296" creationId="{F2E01529-E498-BB79-BFD2-222172CE836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7:23.928" v="23133"/>
          <ac:graphicFrameMkLst>
            <pc:docMk/>
            <pc:sldMk cId="1670414324" sldId="265"/>
            <ac:graphicFrameMk id="300" creationId="{C12DEAF9-A4B9-724B-3796-6D9697417E2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2:58:19.890" v="23303"/>
          <ac:graphicFrameMkLst>
            <pc:docMk/>
            <pc:sldMk cId="1670414324" sldId="265"/>
            <ac:graphicFrameMk id="303" creationId="{4506B66F-7451-01ED-1070-8775A43CA23F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2:59:36.389" v="23649"/>
          <ac:graphicFrameMkLst>
            <pc:docMk/>
            <pc:sldMk cId="1670414324" sldId="265"/>
            <ac:graphicFrameMk id="307" creationId="{8C021D62-A459-F4FB-0F2D-1F8E758E9572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2:59:36.396" v="23680"/>
          <ac:graphicFrameMkLst>
            <pc:docMk/>
            <pc:sldMk cId="1670414324" sldId="265"/>
            <ac:graphicFrameMk id="308" creationId="{C11FE450-6A14-AE2D-8F54-1D9947DE1AC9}"/>
          </ac:graphicFrameMkLst>
        </pc:graphicFrameChg>
        <pc:picChg chg="add mod">
          <ac:chgData name="PJ Grant" userId="21cab94c-7745-4db5-aa88-56cdc0183ba7" providerId="ADAL" clId="{C8CD02E3-132B-40F3-B6A0-926652F128C7}" dt="2024-11-30T23:01:31.753" v="23721" actId="1076"/>
          <ac:picMkLst>
            <pc:docMk/>
            <pc:sldMk cId="1670414324" sldId="265"/>
            <ac:picMk id="316" creationId="{C1BBAE09-B1E4-AEC8-FCBB-5107667CF75B}"/>
          </ac:picMkLst>
        </pc:picChg>
        <pc:picChg chg="add mod">
          <ac:chgData name="PJ Grant" userId="21cab94c-7745-4db5-aa88-56cdc0183ba7" providerId="ADAL" clId="{C8CD02E3-132B-40F3-B6A0-926652F128C7}" dt="2024-11-30T23:01:38.826" v="23723" actId="1076"/>
          <ac:picMkLst>
            <pc:docMk/>
            <pc:sldMk cId="1670414324" sldId="265"/>
            <ac:picMk id="317" creationId="{B8829D0C-D77A-7E37-7583-434D275B6075}"/>
          </ac:picMkLst>
        </pc:picChg>
        <pc:cxnChg chg="mod ord">
          <ac:chgData name="PJ Grant" userId="21cab94c-7745-4db5-aa88-56cdc0183ba7" providerId="ADAL" clId="{C8CD02E3-132B-40F3-B6A0-926652F128C7}" dt="2024-12-01T00:53:00.897" v="35823" actId="14100"/>
          <ac:cxnSpMkLst>
            <pc:docMk/>
            <pc:sldMk cId="1670414324" sldId="265"/>
            <ac:cxnSpMk id="11" creationId="{70B5BF3B-3099-6D25-8D6F-C16E31D1279A}"/>
          </ac:cxnSpMkLst>
        </pc:cxnChg>
        <pc:cxnChg chg="add mod ord">
          <ac:chgData name="PJ Grant" userId="21cab94c-7745-4db5-aa88-56cdc0183ba7" providerId="ADAL" clId="{C8CD02E3-132B-40F3-B6A0-926652F128C7}" dt="2024-11-30T23:00:17.788" v="23714" actId="1076"/>
          <ac:cxnSpMkLst>
            <pc:docMk/>
            <pc:sldMk cId="1670414324" sldId="265"/>
            <ac:cxnSpMk id="56" creationId="{0DCE7A56-0655-0F1C-53C0-9A6BBE69D280}"/>
          </ac:cxnSpMkLst>
        </pc:cxnChg>
        <pc:cxnChg chg="mod ord">
          <ac:chgData name="PJ Grant" userId="21cab94c-7745-4db5-aa88-56cdc0183ba7" providerId="ADAL" clId="{C8CD02E3-132B-40F3-B6A0-926652F128C7}" dt="2024-11-30T23:02:44.419" v="23809" actId="1035"/>
          <ac:cxnSpMkLst>
            <pc:docMk/>
            <pc:sldMk cId="1670414324" sldId="265"/>
            <ac:cxnSpMk id="147" creationId="{41F5C6BC-5A0A-8F53-2164-77C85F9971C4}"/>
          </ac:cxnSpMkLst>
        </pc:cxnChg>
      </pc:sldChg>
      <pc:sldChg chg="addSp delSp modSp new mod ord">
        <pc:chgData name="PJ Grant" userId="21cab94c-7745-4db5-aa88-56cdc0183ba7" providerId="ADAL" clId="{C8CD02E3-132B-40F3-B6A0-926652F128C7}" dt="2024-12-01T02:28:02.676" v="41418" actId="313"/>
        <pc:sldMkLst>
          <pc:docMk/>
          <pc:sldMk cId="2552367792" sldId="266"/>
        </pc:sldMkLst>
        <pc:spChg chg="mod">
          <ac:chgData name="PJ Grant" userId="21cab94c-7745-4db5-aa88-56cdc0183ba7" providerId="ADAL" clId="{C8CD02E3-132B-40F3-B6A0-926652F128C7}" dt="2024-11-30T23:09:31.260" v="26208" actId="20577"/>
          <ac:spMkLst>
            <pc:docMk/>
            <pc:sldMk cId="2552367792" sldId="266"/>
            <ac:spMk id="2" creationId="{8DA4831C-7676-C16F-010B-6C53FC5A79E8}"/>
          </ac:spMkLst>
        </pc:spChg>
        <pc:spChg chg="mod">
          <ac:chgData name="PJ Grant" userId="21cab94c-7745-4db5-aa88-56cdc0183ba7" providerId="ADAL" clId="{C8CD02E3-132B-40F3-B6A0-926652F128C7}" dt="2024-11-30T23:54:01.935" v="33068" actId="948"/>
          <ac:spMkLst>
            <pc:docMk/>
            <pc:sldMk cId="2552367792" sldId="266"/>
            <ac:spMk id="3" creationId="{7CF98A85-AE70-B332-3B22-821FEC357A29}"/>
          </ac:spMkLst>
        </pc:spChg>
        <pc:spChg chg="add del mod modVis">
          <ac:chgData name="PJ Grant" userId="21cab94c-7745-4db5-aa88-56cdc0183ba7" providerId="ADAL" clId="{C8CD02E3-132B-40F3-B6A0-926652F128C7}" dt="2024-11-30T23:54:01.083" v="33050"/>
          <ac:spMkLst>
            <pc:docMk/>
            <pc:sldMk cId="2552367792" sldId="266"/>
            <ac:spMk id="4" creationId="{76C3F38A-DCFD-2E0A-E93E-5C19686DA52B}"/>
          </ac:spMkLst>
        </pc:spChg>
        <pc:spChg chg="add del mod modVis">
          <ac:chgData name="PJ Grant" userId="21cab94c-7745-4db5-aa88-56cdc0183ba7" providerId="ADAL" clId="{C8CD02E3-132B-40F3-B6A0-926652F128C7}" dt="2024-11-30T23:54:01.947" v="33090"/>
          <ac:spMkLst>
            <pc:docMk/>
            <pc:sldMk cId="2552367792" sldId="266"/>
            <ac:spMk id="6" creationId="{0761649C-37EA-39E6-56EC-92F04F02CDE8}"/>
          </ac:spMkLst>
        </pc:spChg>
        <pc:spChg chg="add mod">
          <ac:chgData name="PJ Grant" userId="21cab94c-7745-4db5-aa88-56cdc0183ba7" providerId="ADAL" clId="{C8CD02E3-132B-40F3-B6A0-926652F128C7}" dt="2024-11-30T23:54:05.722" v="33093"/>
          <ac:spMkLst>
            <pc:docMk/>
            <pc:sldMk cId="2552367792" sldId="266"/>
            <ac:spMk id="7" creationId="{9B902A62-7AA4-A6F2-7953-68DF96B354BF}"/>
          </ac:spMkLst>
        </pc:spChg>
        <pc:spChg chg="add mod">
          <ac:chgData name="PJ Grant" userId="21cab94c-7745-4db5-aa88-56cdc0183ba7" providerId="ADAL" clId="{C8CD02E3-132B-40F3-B6A0-926652F128C7}" dt="2024-12-01T01:41:15.474" v="39726" actId="207"/>
          <ac:spMkLst>
            <pc:docMk/>
            <pc:sldMk cId="2552367792" sldId="266"/>
            <ac:spMk id="8" creationId="{4F684A2B-C3DC-D04F-1DC4-BFCB61328604}"/>
          </ac:spMkLst>
        </pc:spChg>
        <pc:spChg chg="add mod">
          <ac:chgData name="PJ Grant" userId="21cab94c-7745-4db5-aa88-56cdc0183ba7" providerId="ADAL" clId="{C8CD02E3-132B-40F3-B6A0-926652F128C7}" dt="2024-12-01T02:28:02.676" v="41418" actId="313"/>
          <ac:spMkLst>
            <pc:docMk/>
            <pc:sldMk cId="2552367792" sldId="266"/>
            <ac:spMk id="10" creationId="{94726E28-9BAF-952A-DD7E-9CB6EC7770C3}"/>
          </ac:spMkLst>
        </pc:spChg>
        <pc:graphicFrameChg chg="add mod ord modVis">
          <ac:chgData name="PJ Grant" userId="21cab94c-7745-4db5-aa88-56cdc0183ba7" providerId="ADAL" clId="{C8CD02E3-132B-40F3-B6A0-926652F128C7}" dt="2024-11-30T23:54:01.947" v="33092"/>
          <ac:graphicFrameMkLst>
            <pc:docMk/>
            <pc:sldMk cId="2552367792" sldId="266"/>
            <ac:graphicFrameMk id="5" creationId="{55096F5C-BF47-BD42-0CCF-98FFB9E5E54A}"/>
          </ac:graphicFrameMkLst>
        </pc:graphicFrameChg>
        <pc:cxnChg chg="add del mod">
          <ac:chgData name="PJ Grant" userId="21cab94c-7745-4db5-aa88-56cdc0183ba7" providerId="ADAL" clId="{C8CD02E3-132B-40F3-B6A0-926652F128C7}" dt="2024-12-01T01:41:34.832" v="39728" actId="478"/>
          <ac:cxnSpMkLst>
            <pc:docMk/>
            <pc:sldMk cId="2552367792" sldId="266"/>
            <ac:cxnSpMk id="9" creationId="{8FC51092-1E84-683F-4A46-17E5B489DB43}"/>
          </ac:cxnSpMkLst>
        </pc:cxnChg>
      </pc:sldChg>
      <pc:sldChg chg="addSp delSp modSp add mod ord">
        <pc:chgData name="PJ Grant" userId="21cab94c-7745-4db5-aa88-56cdc0183ba7" providerId="ADAL" clId="{C8CD02E3-132B-40F3-B6A0-926652F128C7}" dt="2024-12-01T01:40:06.052" v="39717" actId="313"/>
        <pc:sldMkLst>
          <pc:docMk/>
          <pc:sldMk cId="1411550433" sldId="267"/>
        </pc:sldMkLst>
        <pc:spChg chg="mod ord">
          <ac:chgData name="PJ Grant" userId="21cab94c-7745-4db5-aa88-56cdc0183ba7" providerId="ADAL" clId="{C8CD02E3-132B-40F3-B6A0-926652F128C7}" dt="2024-11-30T23:47:29.230" v="32719"/>
          <ac:spMkLst>
            <pc:docMk/>
            <pc:sldMk cId="1411550433" sldId="267"/>
            <ac:spMk id="2" creationId="{D1C65046-AC7D-D54F-8564-14709AD53B66}"/>
          </ac:spMkLst>
        </pc:spChg>
        <pc:spChg chg="mod ord">
          <ac:chgData name="PJ Grant" userId="21cab94c-7745-4db5-aa88-56cdc0183ba7" providerId="ADAL" clId="{C8CD02E3-132B-40F3-B6A0-926652F128C7}" dt="2024-11-30T23:47:29.231" v="32721"/>
          <ac:spMkLst>
            <pc:docMk/>
            <pc:sldMk cId="1411550433" sldId="267"/>
            <ac:spMk id="3" creationId="{8FC8C2E9-8DCB-1E07-1D58-D6A3D6FFEE47}"/>
          </ac:spMkLst>
        </pc:spChg>
        <pc:spChg chg="mod ord">
          <ac:chgData name="PJ Grant" userId="21cab94c-7745-4db5-aa88-56cdc0183ba7" providerId="ADAL" clId="{C8CD02E3-132B-40F3-B6A0-926652F128C7}" dt="2024-11-30T23:47:29.231" v="32723"/>
          <ac:spMkLst>
            <pc:docMk/>
            <pc:sldMk cId="1411550433" sldId="267"/>
            <ac:spMk id="6" creationId="{B34E74D3-A03A-B415-F22E-52EDE6BAA645}"/>
          </ac:spMkLst>
        </pc:spChg>
        <pc:spChg chg="mod ord">
          <ac:chgData name="PJ Grant" userId="21cab94c-7745-4db5-aa88-56cdc0183ba7" providerId="ADAL" clId="{C8CD02E3-132B-40F3-B6A0-926652F128C7}" dt="2024-12-01T01:29:30.497" v="38199" actId="14100"/>
          <ac:spMkLst>
            <pc:docMk/>
            <pc:sldMk cId="1411550433" sldId="267"/>
            <ac:spMk id="7" creationId="{6EF13D1C-34AA-FE99-1002-A23F77CE4223}"/>
          </ac:spMkLst>
        </pc:spChg>
        <pc:spChg chg="mod ord">
          <ac:chgData name="PJ Grant" userId="21cab94c-7745-4db5-aa88-56cdc0183ba7" providerId="ADAL" clId="{C8CD02E3-132B-40F3-B6A0-926652F128C7}" dt="2024-12-01T01:29:32.769" v="38200" actId="1076"/>
          <ac:spMkLst>
            <pc:docMk/>
            <pc:sldMk cId="1411550433" sldId="267"/>
            <ac:spMk id="9" creationId="{D6AA513B-2B53-A4BB-C5FD-E65478520146}"/>
          </ac:spMkLst>
        </pc:spChg>
        <pc:spChg chg="del mod">
          <ac:chgData name="PJ Grant" userId="21cab94c-7745-4db5-aa88-56cdc0183ba7" providerId="ADAL" clId="{C8CD02E3-132B-40F3-B6A0-926652F128C7}" dt="2024-11-30T23:35:19.108" v="26509" actId="478"/>
          <ac:spMkLst>
            <pc:docMk/>
            <pc:sldMk cId="1411550433" sldId="267"/>
            <ac:spMk id="11" creationId="{3483E0E9-1264-5610-4F54-F0BA21441E07}"/>
          </ac:spMkLst>
        </pc:spChg>
        <pc:spChg chg="add del mod ord">
          <ac:chgData name="PJ Grant" userId="21cab94c-7745-4db5-aa88-56cdc0183ba7" providerId="ADAL" clId="{C8CD02E3-132B-40F3-B6A0-926652F128C7}" dt="2024-11-30T23:46:27.419" v="31854" actId="478"/>
          <ac:spMkLst>
            <pc:docMk/>
            <pc:sldMk cId="1411550433" sldId="267"/>
            <ac:spMk id="12" creationId="{D9F216C6-CE70-D614-60E8-84D46209FA9B}"/>
          </ac:spMkLst>
        </pc:spChg>
        <pc:spChg chg="mod ord">
          <ac:chgData name="PJ Grant" userId="21cab94c-7745-4db5-aa88-56cdc0183ba7" providerId="ADAL" clId="{C8CD02E3-132B-40F3-B6A0-926652F128C7}" dt="2024-11-30T23:47:29.232" v="32731"/>
          <ac:spMkLst>
            <pc:docMk/>
            <pc:sldMk cId="1411550433" sldId="267"/>
            <ac:spMk id="13" creationId="{4508E671-2668-15E3-E1C1-8E467A2C3AFB}"/>
          </ac:spMkLst>
        </pc:spChg>
        <pc:spChg chg="add del mod ord">
          <ac:chgData name="PJ Grant" userId="21cab94c-7745-4db5-aa88-56cdc0183ba7" providerId="ADAL" clId="{C8CD02E3-132B-40F3-B6A0-926652F128C7}" dt="2024-11-30T23:47:53.252" v="32787" actId="478"/>
          <ac:spMkLst>
            <pc:docMk/>
            <pc:sldMk cId="1411550433" sldId="267"/>
            <ac:spMk id="14" creationId="{4DC96FEC-66C8-ADDE-8CF7-CD4FCC531E61}"/>
          </ac:spMkLst>
        </pc:spChg>
        <pc:spChg chg="del mod">
          <ac:chgData name="PJ Grant" userId="21cab94c-7745-4db5-aa88-56cdc0183ba7" providerId="ADAL" clId="{C8CD02E3-132B-40F3-B6A0-926652F128C7}" dt="2024-11-30T23:37:29.581" v="26614" actId="478"/>
          <ac:spMkLst>
            <pc:docMk/>
            <pc:sldMk cId="1411550433" sldId="267"/>
            <ac:spMk id="15" creationId="{E1DCD3E8-A74C-CE83-1A0E-6759A6372309}"/>
          </ac:spMkLst>
        </pc:spChg>
        <pc:spChg chg="del mod">
          <ac:chgData name="PJ Grant" userId="21cab94c-7745-4db5-aa88-56cdc0183ba7" providerId="ADAL" clId="{C8CD02E3-132B-40F3-B6A0-926652F128C7}" dt="2024-11-30T23:37:29.581" v="26614" actId="478"/>
          <ac:spMkLst>
            <pc:docMk/>
            <pc:sldMk cId="1411550433" sldId="267"/>
            <ac:spMk id="16" creationId="{7B2CBC7E-214D-0E6D-1865-A6A3A1F6BBF1}"/>
          </ac:spMkLst>
        </pc:spChg>
        <pc:spChg chg="add mod ord">
          <ac:chgData name="PJ Grant" userId="21cab94c-7745-4db5-aa88-56cdc0183ba7" providerId="ADAL" clId="{C8CD02E3-132B-40F3-B6A0-926652F128C7}" dt="2024-11-30T23:48:04.664" v="32815" actId="113"/>
          <ac:spMkLst>
            <pc:docMk/>
            <pc:sldMk cId="1411550433" sldId="267"/>
            <ac:spMk id="18" creationId="{13A30F9F-8A4F-520A-5D56-32E379635F68}"/>
          </ac:spMkLst>
        </pc:spChg>
        <pc:spChg chg="del mod">
          <ac:chgData name="PJ Grant" userId="21cab94c-7745-4db5-aa88-56cdc0183ba7" providerId="ADAL" clId="{C8CD02E3-132B-40F3-B6A0-926652F128C7}" dt="2024-11-30T23:37:29.581" v="26614" actId="478"/>
          <ac:spMkLst>
            <pc:docMk/>
            <pc:sldMk cId="1411550433" sldId="267"/>
            <ac:spMk id="19" creationId="{45017740-B9A0-1417-8141-B8C868349125}"/>
          </ac:spMkLst>
        </pc:spChg>
        <pc:spChg chg="mod ord">
          <ac:chgData name="PJ Grant" userId="21cab94c-7745-4db5-aa88-56cdc0183ba7" providerId="ADAL" clId="{C8CD02E3-132B-40F3-B6A0-926652F128C7}" dt="2024-11-30T23:47:29.233" v="32733"/>
          <ac:spMkLst>
            <pc:docMk/>
            <pc:sldMk cId="1411550433" sldId="267"/>
            <ac:spMk id="20" creationId="{28BEA1D4-97F6-B92A-8022-D2700FD9973E}"/>
          </ac:spMkLst>
        </pc:spChg>
        <pc:spChg chg="mod ord">
          <ac:chgData name="PJ Grant" userId="21cab94c-7745-4db5-aa88-56cdc0183ba7" providerId="ADAL" clId="{C8CD02E3-132B-40F3-B6A0-926652F128C7}" dt="2024-11-30T23:47:29.233" v="32735"/>
          <ac:spMkLst>
            <pc:docMk/>
            <pc:sldMk cId="1411550433" sldId="267"/>
            <ac:spMk id="21" creationId="{EC3C70F8-C1BC-4F60-A486-B95FE6712F4F}"/>
          </ac:spMkLst>
        </pc:spChg>
        <pc:spChg chg="mod ord">
          <ac:chgData name="PJ Grant" userId="21cab94c-7745-4db5-aa88-56cdc0183ba7" providerId="ADAL" clId="{C8CD02E3-132B-40F3-B6A0-926652F128C7}" dt="2024-11-30T23:47:29.233" v="32737"/>
          <ac:spMkLst>
            <pc:docMk/>
            <pc:sldMk cId="1411550433" sldId="267"/>
            <ac:spMk id="22" creationId="{C1EB9608-C259-0906-1E99-0BA25E285B01}"/>
          </ac:spMkLst>
        </pc:spChg>
        <pc:spChg chg="mod ord">
          <ac:chgData name="PJ Grant" userId="21cab94c-7745-4db5-aa88-56cdc0183ba7" providerId="ADAL" clId="{C8CD02E3-132B-40F3-B6A0-926652F128C7}" dt="2024-11-30T23:47:29.234" v="32739"/>
          <ac:spMkLst>
            <pc:docMk/>
            <pc:sldMk cId="1411550433" sldId="267"/>
            <ac:spMk id="23" creationId="{E8641051-7194-BEB3-DB98-F4E85078D8AF}"/>
          </ac:spMkLst>
        </pc:spChg>
        <pc:spChg chg="add del mod ord">
          <ac:chgData name="PJ Grant" userId="21cab94c-7745-4db5-aa88-56cdc0183ba7" providerId="ADAL" clId="{C8CD02E3-132B-40F3-B6A0-926652F128C7}" dt="2024-11-30T23:46:27.419" v="31854" actId="478"/>
          <ac:spMkLst>
            <pc:docMk/>
            <pc:sldMk cId="1411550433" sldId="267"/>
            <ac:spMk id="30" creationId="{7760BC7C-011D-3431-6A8A-44E4C6B69A7C}"/>
          </ac:spMkLst>
        </pc:spChg>
        <pc:spChg chg="mod ord">
          <ac:chgData name="PJ Grant" userId="21cab94c-7745-4db5-aa88-56cdc0183ba7" providerId="ADAL" clId="{C8CD02E3-132B-40F3-B6A0-926652F128C7}" dt="2024-11-30T23:48:04.664" v="32815" actId="113"/>
          <ac:spMkLst>
            <pc:docMk/>
            <pc:sldMk cId="1411550433" sldId="267"/>
            <ac:spMk id="31" creationId="{7BE390F9-E27E-D4E8-CE0A-804E2CCFBF7B}"/>
          </ac:spMkLst>
        </pc:spChg>
        <pc:spChg chg="del mod">
          <ac:chgData name="PJ Grant" userId="21cab94c-7745-4db5-aa88-56cdc0183ba7" providerId="ADAL" clId="{C8CD02E3-132B-40F3-B6A0-926652F128C7}" dt="2024-11-30T23:37:31.492" v="26615" actId="478"/>
          <ac:spMkLst>
            <pc:docMk/>
            <pc:sldMk cId="1411550433" sldId="267"/>
            <ac:spMk id="32" creationId="{A90D658C-FBDA-24C1-F1AD-7048CD3AF476}"/>
          </ac:spMkLst>
        </pc:spChg>
        <pc:spChg chg="del mod">
          <ac:chgData name="PJ Grant" userId="21cab94c-7745-4db5-aa88-56cdc0183ba7" providerId="ADAL" clId="{C8CD02E3-132B-40F3-B6A0-926652F128C7}" dt="2024-11-30T23:37:31.492" v="26615" actId="478"/>
          <ac:spMkLst>
            <pc:docMk/>
            <pc:sldMk cId="1411550433" sldId="267"/>
            <ac:spMk id="33" creationId="{7DA44A2D-C62C-1086-3317-263C04598C6B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36" creationId="{FC1B1BBC-6D62-1F9F-24D0-8F0FD7349224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37" creationId="{5936D424-5271-B61C-E316-7B6E292627BE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38" creationId="{D0350624-82FA-CF8F-DDF3-EDDFA89ED691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41" creationId="{595768D9-128B-1F0A-42C6-706338167B1E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42" creationId="{8E062546-A73A-B71F-233B-E352B8ED85F2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43" creationId="{C4B6D865-B246-9339-6699-982B50A30174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46" creationId="{91CDB67F-D75E-65F1-AA3A-A13CF2066C4B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47" creationId="{EB238988-B226-C13D-1C5C-6C4DE8DE4CFC}"/>
          </ac:spMkLst>
        </pc:spChg>
        <pc:spChg chg="del">
          <ac:chgData name="PJ Grant" userId="21cab94c-7745-4db5-aa88-56cdc0183ba7" providerId="ADAL" clId="{C8CD02E3-132B-40F3-B6A0-926652F128C7}" dt="2024-11-30T23:35:33.588" v="26516" actId="478"/>
          <ac:spMkLst>
            <pc:docMk/>
            <pc:sldMk cId="1411550433" sldId="267"/>
            <ac:spMk id="48" creationId="{BD9E2F46-1B12-E5AA-FB24-95779D943084}"/>
          </ac:spMkLst>
        </pc:spChg>
        <pc:spChg chg="add del mod ord">
          <ac:chgData name="PJ Grant" userId="21cab94c-7745-4db5-aa88-56cdc0183ba7" providerId="ADAL" clId="{C8CD02E3-132B-40F3-B6A0-926652F128C7}" dt="2024-11-30T23:47:53.252" v="32787" actId="478"/>
          <ac:spMkLst>
            <pc:docMk/>
            <pc:sldMk cId="1411550433" sldId="267"/>
            <ac:spMk id="50" creationId="{CC934CB1-3099-36A1-1E79-A2B10B45F072}"/>
          </ac:spMkLst>
        </pc:spChg>
        <pc:spChg chg="add mod ord">
          <ac:chgData name="PJ Grant" userId="21cab94c-7745-4db5-aa88-56cdc0183ba7" providerId="ADAL" clId="{C8CD02E3-132B-40F3-B6A0-926652F128C7}" dt="2024-11-30T23:48:04.664" v="32815" actId="113"/>
          <ac:spMkLst>
            <pc:docMk/>
            <pc:sldMk cId="1411550433" sldId="267"/>
            <ac:spMk id="51" creationId="{98277918-5AAE-5800-31F8-811B2566AB2F}"/>
          </ac:spMkLst>
        </pc:spChg>
        <pc:spChg chg="add del mod ord">
          <ac:chgData name="PJ Grant" userId="21cab94c-7745-4db5-aa88-56cdc0183ba7" providerId="ADAL" clId="{C8CD02E3-132B-40F3-B6A0-926652F128C7}" dt="2024-11-30T23:46:27.419" v="31854" actId="478"/>
          <ac:spMkLst>
            <pc:docMk/>
            <pc:sldMk cId="1411550433" sldId="267"/>
            <ac:spMk id="53" creationId="{0287ABD6-3218-3BFF-6719-4487DDAE618E}"/>
          </ac:spMkLst>
        </pc:spChg>
        <pc:spChg chg="add del mod ord">
          <ac:chgData name="PJ Grant" userId="21cab94c-7745-4db5-aa88-56cdc0183ba7" providerId="ADAL" clId="{C8CD02E3-132B-40F3-B6A0-926652F128C7}" dt="2024-11-30T23:47:53.252" v="32787" actId="478"/>
          <ac:spMkLst>
            <pc:docMk/>
            <pc:sldMk cId="1411550433" sldId="267"/>
            <ac:spMk id="54" creationId="{385ED4BF-656C-125D-59D4-518DE5B1EA52}"/>
          </ac:spMkLst>
        </pc:spChg>
        <pc:spChg chg="add mod ord">
          <ac:chgData name="PJ Grant" userId="21cab94c-7745-4db5-aa88-56cdc0183ba7" providerId="ADAL" clId="{C8CD02E3-132B-40F3-B6A0-926652F128C7}" dt="2024-11-30T23:48:26.802" v="32851" actId="1076"/>
          <ac:spMkLst>
            <pc:docMk/>
            <pc:sldMk cId="1411550433" sldId="267"/>
            <ac:spMk id="57" creationId="{F2F0815F-8B75-4024-87AA-87D356DCD57C}"/>
          </ac:spMkLst>
        </pc:spChg>
        <pc:spChg chg="add del mod modVis">
          <ac:chgData name="PJ Grant" userId="21cab94c-7745-4db5-aa88-56cdc0183ba7" providerId="ADAL" clId="{C8CD02E3-132B-40F3-B6A0-926652F128C7}" dt="2024-11-30T23:38:47.137" v="27208"/>
          <ac:spMkLst>
            <pc:docMk/>
            <pc:sldMk cId="1411550433" sldId="267"/>
            <ac:spMk id="58" creationId="{53B69030-3834-1DC8-DF55-7140F28B5E12}"/>
          </ac:spMkLst>
        </pc:spChg>
        <pc:spChg chg="add del mod">
          <ac:chgData name="PJ Grant" userId="21cab94c-7745-4db5-aa88-56cdc0183ba7" providerId="ADAL" clId="{C8CD02E3-132B-40F3-B6A0-926652F128C7}" dt="2024-11-30T23:39:31.007" v="28387"/>
          <ac:spMkLst>
            <pc:docMk/>
            <pc:sldMk cId="1411550433" sldId="267"/>
            <ac:spMk id="59" creationId="{69CFC8CE-EB8B-D3E7-59F0-F825226FBD16}"/>
          </ac:spMkLst>
        </pc:spChg>
        <pc:spChg chg="add del mod">
          <ac:chgData name="PJ Grant" userId="21cab94c-7745-4db5-aa88-56cdc0183ba7" providerId="ADAL" clId="{C8CD02E3-132B-40F3-B6A0-926652F128C7}" dt="2024-11-30T23:39:00.943" v="27246"/>
          <ac:spMkLst>
            <pc:docMk/>
            <pc:sldMk cId="1411550433" sldId="267"/>
            <ac:spMk id="60" creationId="{AD4078BF-725A-F9B1-A297-6E67A1B968A3}"/>
          </ac:spMkLst>
        </pc:spChg>
        <pc:spChg chg="add del mod">
          <ac:chgData name="PJ Grant" userId="21cab94c-7745-4db5-aa88-56cdc0183ba7" providerId="ADAL" clId="{C8CD02E3-132B-40F3-B6A0-926652F128C7}" dt="2024-11-30T23:39:00.945" v="27249"/>
          <ac:spMkLst>
            <pc:docMk/>
            <pc:sldMk cId="1411550433" sldId="267"/>
            <ac:spMk id="61" creationId="{4163BC66-E8BE-EBDD-0812-4CCED2D77182}"/>
          </ac:spMkLst>
        </pc:spChg>
        <pc:spChg chg="add del mod">
          <ac:chgData name="PJ Grant" userId="21cab94c-7745-4db5-aa88-56cdc0183ba7" providerId="ADAL" clId="{C8CD02E3-132B-40F3-B6A0-926652F128C7}" dt="2024-11-30T23:39:27.577" v="28310"/>
          <ac:spMkLst>
            <pc:docMk/>
            <pc:sldMk cId="1411550433" sldId="267"/>
            <ac:spMk id="62" creationId="{843F6100-561A-9026-EB5E-E7B5A075157F}"/>
          </ac:spMkLst>
        </pc:spChg>
        <pc:spChg chg="add del mod">
          <ac:chgData name="PJ Grant" userId="21cab94c-7745-4db5-aa88-56cdc0183ba7" providerId="ADAL" clId="{C8CD02E3-132B-40F3-B6A0-926652F128C7}" dt="2024-11-30T23:39:12.853" v="27713"/>
          <ac:spMkLst>
            <pc:docMk/>
            <pc:sldMk cId="1411550433" sldId="267"/>
            <ac:spMk id="63" creationId="{F9ABC77A-4298-ECE1-2F47-A75665413CF3}"/>
          </ac:spMkLst>
        </pc:spChg>
        <pc:spChg chg="add del mod">
          <ac:chgData name="PJ Grant" userId="21cab94c-7745-4db5-aa88-56cdc0183ba7" providerId="ADAL" clId="{C8CD02E3-132B-40F3-B6A0-926652F128C7}" dt="2024-11-30T23:39:12.854" v="27714"/>
          <ac:spMkLst>
            <pc:docMk/>
            <pc:sldMk cId="1411550433" sldId="267"/>
            <ac:spMk id="64" creationId="{570C76E2-B337-6C35-5119-66BB688975A4}"/>
          </ac:spMkLst>
        </pc:spChg>
        <pc:spChg chg="add del mod">
          <ac:chgData name="PJ Grant" userId="21cab94c-7745-4db5-aa88-56cdc0183ba7" providerId="ADAL" clId="{C8CD02E3-132B-40F3-B6A0-926652F128C7}" dt="2024-11-30T23:39:12.980" v="27775"/>
          <ac:spMkLst>
            <pc:docMk/>
            <pc:sldMk cId="1411550433" sldId="267"/>
            <ac:spMk id="65" creationId="{237A1EF6-E2CB-4700-75FC-068610760A84}"/>
          </ac:spMkLst>
        </pc:spChg>
        <pc:spChg chg="add del mod">
          <ac:chgData name="PJ Grant" userId="21cab94c-7745-4db5-aa88-56cdc0183ba7" providerId="ADAL" clId="{C8CD02E3-132B-40F3-B6A0-926652F128C7}" dt="2024-11-30T23:39:12.980" v="27776"/>
          <ac:spMkLst>
            <pc:docMk/>
            <pc:sldMk cId="1411550433" sldId="267"/>
            <ac:spMk id="66" creationId="{EDA0D2E4-FAF4-7044-D705-41B70A45ED98}"/>
          </ac:spMkLst>
        </pc:spChg>
        <pc:spChg chg="add del mod">
          <ac:chgData name="PJ Grant" userId="21cab94c-7745-4db5-aa88-56cdc0183ba7" providerId="ADAL" clId="{C8CD02E3-132B-40F3-B6A0-926652F128C7}" dt="2024-11-30T23:39:12.980" v="27777"/>
          <ac:spMkLst>
            <pc:docMk/>
            <pc:sldMk cId="1411550433" sldId="267"/>
            <ac:spMk id="67" creationId="{0AD4DF04-A365-5AE6-E8BB-087CB28EB9B1}"/>
          </ac:spMkLst>
        </pc:spChg>
        <pc:spChg chg="add del mod modVis">
          <ac:chgData name="PJ Grant" userId="21cab94c-7745-4db5-aa88-56cdc0183ba7" providerId="ADAL" clId="{C8CD02E3-132B-40F3-B6A0-926652F128C7}" dt="2024-11-30T23:39:01.025" v="27329"/>
          <ac:spMkLst>
            <pc:docMk/>
            <pc:sldMk cId="1411550433" sldId="267"/>
            <ac:spMk id="69" creationId="{49BE2275-DA6E-FD9D-F5E7-05344BC0C491}"/>
          </ac:spMkLst>
        </pc:spChg>
        <pc:spChg chg="add del mod">
          <ac:chgData name="PJ Grant" userId="21cab94c-7745-4db5-aa88-56cdc0183ba7" providerId="ADAL" clId="{C8CD02E3-132B-40F3-B6A0-926652F128C7}" dt="2024-11-30T23:39:31.008" v="28388"/>
          <ac:spMkLst>
            <pc:docMk/>
            <pc:sldMk cId="1411550433" sldId="267"/>
            <ac:spMk id="71" creationId="{ACDA9956-6BA9-35CD-1338-1484B2EBACE9}"/>
          </ac:spMkLst>
        </pc:spChg>
        <pc:spChg chg="add del mod modVis">
          <ac:chgData name="PJ Grant" userId="21cab94c-7745-4db5-aa88-56cdc0183ba7" providerId="ADAL" clId="{C8CD02E3-132B-40F3-B6A0-926652F128C7}" dt="2024-11-30T23:39:02.457" v="27450"/>
          <ac:spMkLst>
            <pc:docMk/>
            <pc:sldMk cId="1411550433" sldId="267"/>
            <ac:spMk id="72" creationId="{6A70EECF-185A-337E-4C19-5393E47B8EC0}"/>
          </ac:spMkLst>
        </pc:spChg>
        <pc:spChg chg="add del mod">
          <ac:chgData name="PJ Grant" userId="21cab94c-7745-4db5-aa88-56cdc0183ba7" providerId="ADAL" clId="{C8CD02E3-132B-40F3-B6A0-926652F128C7}" dt="2024-11-30T23:39:31.008" v="28389"/>
          <ac:spMkLst>
            <pc:docMk/>
            <pc:sldMk cId="1411550433" sldId="267"/>
            <ac:spMk id="74" creationId="{DACCF786-C091-186B-C28B-BF62DC026953}"/>
          </ac:spMkLst>
        </pc:spChg>
        <pc:spChg chg="add del mod modVis">
          <ac:chgData name="PJ Grant" userId="21cab94c-7745-4db5-aa88-56cdc0183ba7" providerId="ADAL" clId="{C8CD02E3-132B-40F3-B6A0-926652F128C7}" dt="2024-11-30T23:39:06.856" v="27577"/>
          <ac:spMkLst>
            <pc:docMk/>
            <pc:sldMk cId="1411550433" sldId="267"/>
            <ac:spMk id="75" creationId="{7C863984-D56D-A8E7-ECC4-51D9662015FB}"/>
          </ac:spMkLst>
        </pc:spChg>
        <pc:spChg chg="add del mod">
          <ac:chgData name="PJ Grant" userId="21cab94c-7745-4db5-aa88-56cdc0183ba7" providerId="ADAL" clId="{C8CD02E3-132B-40F3-B6A0-926652F128C7}" dt="2024-11-30T23:39:31.008" v="28390"/>
          <ac:spMkLst>
            <pc:docMk/>
            <pc:sldMk cId="1411550433" sldId="267"/>
            <ac:spMk id="77" creationId="{A49AF643-C3B2-6E7E-1A3C-2ED5574C2D7F}"/>
          </ac:spMkLst>
        </pc:spChg>
        <pc:spChg chg="add del mod modVis">
          <ac:chgData name="PJ Grant" userId="21cab94c-7745-4db5-aa88-56cdc0183ba7" providerId="ADAL" clId="{C8CD02E3-132B-40F3-B6A0-926652F128C7}" dt="2024-11-30T23:39:07.919" v="27710"/>
          <ac:spMkLst>
            <pc:docMk/>
            <pc:sldMk cId="1411550433" sldId="267"/>
            <ac:spMk id="78" creationId="{2F341909-476D-2CB2-25BB-5E9A8C9F1306}"/>
          </ac:spMkLst>
        </pc:spChg>
        <pc:spChg chg="add del mod modVis">
          <ac:chgData name="PJ Grant" userId="21cab94c-7745-4db5-aa88-56cdc0183ba7" providerId="ADAL" clId="{C8CD02E3-132B-40F3-B6A0-926652F128C7}" dt="2024-11-30T23:39:13.030" v="27851"/>
          <ac:spMkLst>
            <pc:docMk/>
            <pc:sldMk cId="1411550433" sldId="267"/>
            <ac:spMk id="80" creationId="{80A6CB1B-6875-F9F1-5DB9-6311DE46EFF0}"/>
          </ac:spMkLst>
        </pc:spChg>
        <pc:spChg chg="add del mod modVis">
          <ac:chgData name="PJ Grant" userId="21cab94c-7745-4db5-aa88-56cdc0183ba7" providerId="ADAL" clId="{C8CD02E3-132B-40F3-B6A0-926652F128C7}" dt="2024-11-30T23:39:15.437" v="27950"/>
          <ac:spMkLst>
            <pc:docMk/>
            <pc:sldMk cId="1411550433" sldId="267"/>
            <ac:spMk id="82" creationId="{383A1172-4F01-BB23-0CDA-2F7FDC6CF7DE}"/>
          </ac:spMkLst>
        </pc:spChg>
        <pc:spChg chg="add del mod modVis">
          <ac:chgData name="PJ Grant" userId="21cab94c-7745-4db5-aa88-56cdc0183ba7" providerId="ADAL" clId="{C8CD02E3-132B-40F3-B6A0-926652F128C7}" dt="2024-11-30T23:39:39.349" v="28683"/>
          <ac:spMkLst>
            <pc:docMk/>
            <pc:sldMk cId="1411550433" sldId="267"/>
            <ac:spMk id="92" creationId="{E642F477-61CB-7A7E-1729-8EAAD7EEB70F}"/>
          </ac:spMkLst>
        </pc:spChg>
        <pc:spChg chg="add del mod modVis">
          <ac:chgData name="PJ Grant" userId="21cab94c-7745-4db5-aa88-56cdc0183ba7" providerId="ADAL" clId="{C8CD02E3-132B-40F3-B6A0-926652F128C7}" dt="2024-11-30T23:39:42.680" v="28777"/>
          <ac:spMkLst>
            <pc:docMk/>
            <pc:sldMk cId="1411550433" sldId="267"/>
            <ac:spMk id="95" creationId="{136AABF7-9578-9FC6-A385-8C4686BBFB03}"/>
          </ac:spMkLst>
        </pc:spChg>
        <pc:spChg chg="add del mod modVis">
          <ac:chgData name="PJ Grant" userId="21cab94c-7745-4db5-aa88-56cdc0183ba7" providerId="ADAL" clId="{C8CD02E3-132B-40F3-B6A0-926652F128C7}" dt="2024-11-30T23:39:44.491" v="28873"/>
          <ac:spMkLst>
            <pc:docMk/>
            <pc:sldMk cId="1411550433" sldId="267"/>
            <ac:spMk id="98" creationId="{76522585-CA34-2EC3-CF60-3878BEB6C182}"/>
          </ac:spMkLst>
        </pc:spChg>
        <pc:spChg chg="add del mod modVis">
          <ac:chgData name="PJ Grant" userId="21cab94c-7745-4db5-aa88-56cdc0183ba7" providerId="ADAL" clId="{C8CD02E3-132B-40F3-B6A0-926652F128C7}" dt="2024-11-30T23:39:46.204" v="28971"/>
          <ac:spMkLst>
            <pc:docMk/>
            <pc:sldMk cId="1411550433" sldId="267"/>
            <ac:spMk id="101" creationId="{E378388A-6961-F2E0-2E11-A5A67E7F2544}"/>
          </ac:spMkLst>
        </pc:spChg>
        <pc:spChg chg="add del mod modVis">
          <ac:chgData name="PJ Grant" userId="21cab94c-7745-4db5-aa88-56cdc0183ba7" providerId="ADAL" clId="{C8CD02E3-132B-40F3-B6A0-926652F128C7}" dt="2024-11-30T23:39:48.352" v="29071"/>
          <ac:spMkLst>
            <pc:docMk/>
            <pc:sldMk cId="1411550433" sldId="267"/>
            <ac:spMk id="104" creationId="{0652B654-AD8F-107E-82EE-BC066C44DB8A}"/>
          </ac:spMkLst>
        </pc:spChg>
        <pc:spChg chg="add del mod modVis">
          <ac:chgData name="PJ Grant" userId="21cab94c-7745-4db5-aa88-56cdc0183ba7" providerId="ADAL" clId="{C8CD02E3-132B-40F3-B6A0-926652F128C7}" dt="2024-11-30T23:39:50.494" v="29173"/>
          <ac:spMkLst>
            <pc:docMk/>
            <pc:sldMk cId="1411550433" sldId="267"/>
            <ac:spMk id="107" creationId="{A5E92D36-C505-3BB5-697E-6FF8EF8650D7}"/>
          </ac:spMkLst>
        </pc:spChg>
        <pc:spChg chg="add del mod modVis">
          <ac:chgData name="PJ Grant" userId="21cab94c-7745-4db5-aa88-56cdc0183ba7" providerId="ADAL" clId="{C8CD02E3-132B-40F3-B6A0-926652F128C7}" dt="2024-11-30T23:44:02.804" v="29383"/>
          <ac:spMkLst>
            <pc:docMk/>
            <pc:sldMk cId="1411550433" sldId="267"/>
            <ac:spMk id="109" creationId="{133216B6-D060-E850-3CAC-EFA2BFD2BE3E}"/>
          </ac:spMkLst>
        </pc:spChg>
        <pc:spChg chg="add mod ord">
          <ac:chgData name="PJ Grant" userId="21cab94c-7745-4db5-aa88-56cdc0183ba7" providerId="ADAL" clId="{C8CD02E3-132B-40F3-B6A0-926652F128C7}" dt="2024-11-30T23:47:29.239" v="32765"/>
          <ac:spMkLst>
            <pc:docMk/>
            <pc:sldMk cId="1411550433" sldId="267"/>
            <ac:spMk id="110" creationId="{C6205D91-524E-3994-4670-31D386899E43}"/>
          </ac:spMkLst>
        </pc:spChg>
        <pc:spChg chg="add mod ord">
          <ac:chgData name="PJ Grant" userId="21cab94c-7745-4db5-aa88-56cdc0183ba7" providerId="ADAL" clId="{C8CD02E3-132B-40F3-B6A0-926652F128C7}" dt="2024-11-30T23:47:29.240" v="32766"/>
          <ac:spMkLst>
            <pc:docMk/>
            <pc:sldMk cId="1411550433" sldId="267"/>
            <ac:spMk id="111" creationId="{9C74E797-A6FF-7E1D-F1D7-5EE3BE57517A}"/>
          </ac:spMkLst>
        </pc:spChg>
        <pc:spChg chg="add del mod modVis">
          <ac:chgData name="PJ Grant" userId="21cab94c-7745-4db5-aa88-56cdc0183ba7" providerId="ADAL" clId="{C8CD02E3-132B-40F3-B6A0-926652F128C7}" dt="2024-11-30T23:44:12.037" v="29594"/>
          <ac:spMkLst>
            <pc:docMk/>
            <pc:sldMk cId="1411550433" sldId="267"/>
            <ac:spMk id="113" creationId="{45D9C145-8BA6-5E55-95DF-2B94C858E649}"/>
          </ac:spMkLst>
        </pc:spChg>
        <pc:spChg chg="add del mod ord">
          <ac:chgData name="PJ Grant" userId="21cab94c-7745-4db5-aa88-56cdc0183ba7" providerId="ADAL" clId="{C8CD02E3-132B-40F3-B6A0-926652F128C7}" dt="2024-11-30T23:46:33.366" v="31880"/>
          <ac:spMkLst>
            <pc:docMk/>
            <pc:sldMk cId="1411550433" sldId="267"/>
            <ac:spMk id="114" creationId="{25F575BE-6CB7-12E5-2318-B54C6F6BE674}"/>
          </ac:spMkLst>
        </pc:spChg>
        <pc:spChg chg="add del mod ord">
          <ac:chgData name="PJ Grant" userId="21cab94c-7745-4db5-aa88-56cdc0183ba7" providerId="ADAL" clId="{C8CD02E3-132B-40F3-B6A0-926652F128C7}" dt="2024-11-30T23:46:33.363" v="31877"/>
          <ac:spMkLst>
            <pc:docMk/>
            <pc:sldMk cId="1411550433" sldId="267"/>
            <ac:spMk id="115" creationId="{578C270A-842B-4E68-B55D-8B28EE76E65D}"/>
          </ac:spMkLst>
        </pc:spChg>
        <pc:spChg chg="add del mod">
          <ac:chgData name="PJ Grant" userId="21cab94c-7745-4db5-aa88-56cdc0183ba7" providerId="ADAL" clId="{C8CD02E3-132B-40F3-B6A0-926652F128C7}" dt="2024-11-30T23:44:16.016" v="29753"/>
          <ac:spMkLst>
            <pc:docMk/>
            <pc:sldMk cId="1411550433" sldId="267"/>
            <ac:spMk id="117" creationId="{831A6994-C434-2F1C-112C-E8DD788DA34F}"/>
          </ac:spMkLst>
        </pc:spChg>
        <pc:spChg chg="add del mod modVis">
          <ac:chgData name="PJ Grant" userId="21cab94c-7745-4db5-aa88-56cdc0183ba7" providerId="ADAL" clId="{C8CD02E3-132B-40F3-B6A0-926652F128C7}" dt="2024-11-30T23:44:14.760" v="29746"/>
          <ac:spMkLst>
            <pc:docMk/>
            <pc:sldMk cId="1411550433" sldId="267"/>
            <ac:spMk id="118" creationId="{34D22CFC-4291-FCEB-3618-5D9CA3DE5D46}"/>
          </ac:spMkLst>
        </pc:spChg>
        <pc:spChg chg="add del mod modVis">
          <ac:chgData name="PJ Grant" userId="21cab94c-7745-4db5-aa88-56cdc0183ba7" providerId="ADAL" clId="{C8CD02E3-132B-40F3-B6A0-926652F128C7}" dt="2024-11-30T23:44:20.501" v="30174"/>
          <ac:spMkLst>
            <pc:docMk/>
            <pc:sldMk cId="1411550433" sldId="267"/>
            <ac:spMk id="123" creationId="{1C549E3F-4AE3-819F-1BAD-FC5594D732F0}"/>
          </ac:spMkLst>
        </pc:spChg>
        <pc:spChg chg="add del mod">
          <ac:chgData name="PJ Grant" userId="21cab94c-7745-4db5-aa88-56cdc0183ba7" providerId="ADAL" clId="{C8CD02E3-132B-40F3-B6A0-926652F128C7}" dt="2024-11-30T23:46:33.367" v="31881"/>
          <ac:spMkLst>
            <pc:docMk/>
            <pc:sldMk cId="1411550433" sldId="267"/>
            <ac:spMk id="124" creationId="{6288EDB7-D61E-565C-B502-55F586ADF023}"/>
          </ac:spMkLst>
        </pc:spChg>
        <pc:spChg chg="add del mod">
          <ac:chgData name="PJ Grant" userId="21cab94c-7745-4db5-aa88-56cdc0183ba7" providerId="ADAL" clId="{C8CD02E3-132B-40F3-B6A0-926652F128C7}" dt="2024-11-30T23:46:33.364" v="31878"/>
          <ac:spMkLst>
            <pc:docMk/>
            <pc:sldMk cId="1411550433" sldId="267"/>
            <ac:spMk id="125" creationId="{B0CBFCA8-CB01-0295-971F-FE0B45A5E7AD}"/>
          </ac:spMkLst>
        </pc:spChg>
        <pc:spChg chg="add del mod">
          <ac:chgData name="PJ Grant" userId="21cab94c-7745-4db5-aa88-56cdc0183ba7" providerId="ADAL" clId="{C8CD02E3-132B-40F3-B6A0-926652F128C7}" dt="2024-11-30T23:44:23.694" v="30335"/>
          <ac:spMkLst>
            <pc:docMk/>
            <pc:sldMk cId="1411550433" sldId="267"/>
            <ac:spMk id="127" creationId="{1C2EA64A-671E-0046-34DF-F8AC4AED26E6}"/>
          </ac:spMkLst>
        </pc:spChg>
        <pc:spChg chg="add del mod modVis">
          <ac:chgData name="PJ Grant" userId="21cab94c-7745-4db5-aa88-56cdc0183ba7" providerId="ADAL" clId="{C8CD02E3-132B-40F3-B6A0-926652F128C7}" dt="2024-11-30T23:44:22.564" v="30328"/>
          <ac:spMkLst>
            <pc:docMk/>
            <pc:sldMk cId="1411550433" sldId="267"/>
            <ac:spMk id="128" creationId="{B38E200B-8766-C87B-DF37-3F0054DAAD8D}"/>
          </ac:spMkLst>
        </pc:spChg>
        <pc:spChg chg="add del mod modVis">
          <ac:chgData name="PJ Grant" userId="21cab94c-7745-4db5-aa88-56cdc0183ba7" providerId="ADAL" clId="{C8CD02E3-132B-40F3-B6A0-926652F128C7}" dt="2024-11-30T23:44:27.600" v="30663"/>
          <ac:spMkLst>
            <pc:docMk/>
            <pc:sldMk cId="1411550433" sldId="267"/>
            <ac:spMk id="131" creationId="{1F575752-534E-8E09-E60F-96CB8E1BDA2D}"/>
          </ac:spMkLst>
        </pc:spChg>
        <pc:spChg chg="add mod">
          <ac:chgData name="PJ Grant" userId="21cab94c-7745-4db5-aa88-56cdc0183ba7" providerId="ADAL" clId="{C8CD02E3-132B-40F3-B6A0-926652F128C7}" dt="2024-11-30T23:47:29.240" v="32767"/>
          <ac:spMkLst>
            <pc:docMk/>
            <pc:sldMk cId="1411550433" sldId="267"/>
            <ac:spMk id="132" creationId="{AD8C0E2F-18C4-0ED1-E636-633028B0CDA7}"/>
          </ac:spMkLst>
        </pc:spChg>
        <pc:spChg chg="add mod">
          <ac:chgData name="PJ Grant" userId="21cab94c-7745-4db5-aa88-56cdc0183ba7" providerId="ADAL" clId="{C8CD02E3-132B-40F3-B6A0-926652F128C7}" dt="2024-11-30T23:47:29.240" v="32768"/>
          <ac:spMkLst>
            <pc:docMk/>
            <pc:sldMk cId="1411550433" sldId="267"/>
            <ac:spMk id="133" creationId="{C53C585C-E30A-D577-1B61-6ECB7737E6A9}"/>
          </ac:spMkLst>
        </pc:spChg>
        <pc:spChg chg="add mod ord">
          <ac:chgData name="PJ Grant" userId="21cab94c-7745-4db5-aa88-56cdc0183ba7" providerId="ADAL" clId="{C8CD02E3-132B-40F3-B6A0-926652F128C7}" dt="2024-11-30T23:47:29.241" v="32773"/>
          <ac:spMkLst>
            <pc:docMk/>
            <pc:sldMk cId="1411550433" sldId="267"/>
            <ac:spMk id="138" creationId="{32D376BA-2E23-24FD-3322-EAB99DAF3AC0}"/>
          </ac:spMkLst>
        </pc:spChg>
        <pc:spChg chg="add mod ord">
          <ac:chgData name="PJ Grant" userId="21cab94c-7745-4db5-aa88-56cdc0183ba7" providerId="ADAL" clId="{C8CD02E3-132B-40F3-B6A0-926652F128C7}" dt="2024-11-30T23:47:29.242" v="32775"/>
          <ac:spMkLst>
            <pc:docMk/>
            <pc:sldMk cId="1411550433" sldId="267"/>
            <ac:spMk id="139" creationId="{839FFDDE-B51A-6DDF-B437-838ED07B1A1C}"/>
          </ac:spMkLst>
        </pc:spChg>
        <pc:spChg chg="add mod ord">
          <ac:chgData name="PJ Grant" userId="21cab94c-7745-4db5-aa88-56cdc0183ba7" providerId="ADAL" clId="{C8CD02E3-132B-40F3-B6A0-926652F128C7}" dt="2024-11-30T23:47:29.241" v="32772"/>
          <ac:spMkLst>
            <pc:docMk/>
            <pc:sldMk cId="1411550433" sldId="267"/>
            <ac:spMk id="140" creationId="{0A27D087-BD8F-5378-63D5-3C07B47E0378}"/>
          </ac:spMkLst>
        </pc:spChg>
        <pc:spChg chg="add mod">
          <ac:chgData name="PJ Grant" userId="21cab94c-7745-4db5-aa88-56cdc0183ba7" providerId="ADAL" clId="{C8CD02E3-132B-40F3-B6A0-926652F128C7}" dt="2024-11-30T23:47:29.242" v="32774"/>
          <ac:spMkLst>
            <pc:docMk/>
            <pc:sldMk cId="1411550433" sldId="267"/>
            <ac:spMk id="141" creationId="{CDFED970-5C57-524A-BB6B-B941C8EF144C}"/>
          </ac:spMkLst>
        </pc:spChg>
        <pc:spChg chg="add del mod ord">
          <ac:chgData name="PJ Grant" userId="21cab94c-7745-4db5-aa88-56cdc0183ba7" providerId="ADAL" clId="{C8CD02E3-132B-40F3-B6A0-926652F128C7}" dt="2024-11-30T23:46:32.509" v="31868"/>
          <ac:spMkLst>
            <pc:docMk/>
            <pc:sldMk cId="1411550433" sldId="267"/>
            <ac:spMk id="143" creationId="{79FA1491-7EF1-7717-169F-3030F29DDBC8}"/>
          </ac:spMkLst>
        </pc:spChg>
        <pc:spChg chg="add del mod ord">
          <ac:chgData name="PJ Grant" userId="21cab94c-7745-4db5-aa88-56cdc0183ba7" providerId="ADAL" clId="{C8CD02E3-132B-40F3-B6A0-926652F128C7}" dt="2024-11-30T23:46:32.507" v="31866"/>
          <ac:spMkLst>
            <pc:docMk/>
            <pc:sldMk cId="1411550433" sldId="267"/>
            <ac:spMk id="144" creationId="{0F5B078C-F2C7-6F04-E19B-B427EFF3B46A}"/>
          </ac:spMkLst>
        </pc:spChg>
        <pc:spChg chg="add del mod ord">
          <ac:chgData name="PJ Grant" userId="21cab94c-7745-4db5-aa88-56cdc0183ba7" providerId="ADAL" clId="{C8CD02E3-132B-40F3-B6A0-926652F128C7}" dt="2024-11-30T23:46:32.510" v="31870"/>
          <ac:spMkLst>
            <pc:docMk/>
            <pc:sldMk cId="1411550433" sldId="267"/>
            <ac:spMk id="145" creationId="{D5661CCA-AE8B-B0A5-3797-77B9B7A9F024}"/>
          </ac:spMkLst>
        </pc:spChg>
        <pc:spChg chg="add del mod">
          <ac:chgData name="PJ Grant" userId="21cab94c-7745-4db5-aa88-56cdc0183ba7" providerId="ADAL" clId="{C8CD02E3-132B-40F3-B6A0-926652F128C7}" dt="2024-11-30T23:46:32.509" v="31867"/>
          <ac:spMkLst>
            <pc:docMk/>
            <pc:sldMk cId="1411550433" sldId="267"/>
            <ac:spMk id="146" creationId="{EDBBB055-B3D9-DA70-3397-491D66518BD9}"/>
          </ac:spMkLst>
        </pc:spChg>
        <pc:spChg chg="add del mod modVis">
          <ac:chgData name="PJ Grant" userId="21cab94c-7745-4db5-aa88-56cdc0183ba7" providerId="ADAL" clId="{C8CD02E3-132B-40F3-B6A0-926652F128C7}" dt="2024-11-30T23:44:58.233" v="31143"/>
          <ac:spMkLst>
            <pc:docMk/>
            <pc:sldMk cId="1411550433" sldId="267"/>
            <ac:spMk id="147" creationId="{DF5098CD-C9D0-7875-96C4-874A24781288}"/>
          </ac:spMkLst>
        </pc:spChg>
        <pc:spChg chg="add mod ord">
          <ac:chgData name="PJ Grant" userId="21cab94c-7745-4db5-aa88-56cdc0183ba7" providerId="ADAL" clId="{C8CD02E3-132B-40F3-B6A0-926652F128C7}" dt="2024-11-30T23:47:29.243" v="32779"/>
          <ac:spMkLst>
            <pc:docMk/>
            <pc:sldMk cId="1411550433" sldId="267"/>
            <ac:spMk id="151" creationId="{DE11036E-8BE9-D269-1ACF-584583CF44A5}"/>
          </ac:spMkLst>
        </pc:spChg>
        <pc:spChg chg="add mod ord">
          <ac:chgData name="PJ Grant" userId="21cab94c-7745-4db5-aa88-56cdc0183ba7" providerId="ADAL" clId="{C8CD02E3-132B-40F3-B6A0-926652F128C7}" dt="2024-11-30T23:47:29.243" v="32780"/>
          <ac:spMkLst>
            <pc:docMk/>
            <pc:sldMk cId="1411550433" sldId="267"/>
            <ac:spMk id="152" creationId="{3002C88D-8D80-FE05-31C8-07E88BE889CA}"/>
          </ac:spMkLst>
        </pc:spChg>
        <pc:spChg chg="add mod">
          <ac:chgData name="PJ Grant" userId="21cab94c-7745-4db5-aa88-56cdc0183ba7" providerId="ADAL" clId="{C8CD02E3-132B-40F3-B6A0-926652F128C7}" dt="2024-11-30T23:47:29.244" v="32781"/>
          <ac:spMkLst>
            <pc:docMk/>
            <pc:sldMk cId="1411550433" sldId="267"/>
            <ac:spMk id="153" creationId="{9592B64E-47B5-38C6-F529-5ADA938D42EE}"/>
          </ac:spMkLst>
        </pc:spChg>
        <pc:spChg chg="add mod ord">
          <ac:chgData name="PJ Grant" userId="21cab94c-7745-4db5-aa88-56cdc0183ba7" providerId="ADAL" clId="{C8CD02E3-132B-40F3-B6A0-926652F128C7}" dt="2024-11-30T23:47:29.244" v="32782"/>
          <ac:spMkLst>
            <pc:docMk/>
            <pc:sldMk cId="1411550433" sldId="267"/>
            <ac:spMk id="154" creationId="{63109D76-7CD9-A82B-4330-B33DE456001D}"/>
          </ac:spMkLst>
        </pc:spChg>
        <pc:spChg chg="add del mod">
          <ac:chgData name="PJ Grant" userId="21cab94c-7745-4db5-aa88-56cdc0183ba7" providerId="ADAL" clId="{C8CD02E3-132B-40F3-B6A0-926652F128C7}" dt="2024-11-30T23:46:31.629" v="31860"/>
          <ac:spMkLst>
            <pc:docMk/>
            <pc:sldMk cId="1411550433" sldId="267"/>
            <ac:spMk id="156" creationId="{30DB45B0-890D-BA58-73BF-1BD55F3D4372}"/>
          </ac:spMkLst>
        </pc:spChg>
        <pc:spChg chg="add del mod ord">
          <ac:chgData name="PJ Grant" userId="21cab94c-7745-4db5-aa88-56cdc0183ba7" providerId="ADAL" clId="{C8CD02E3-132B-40F3-B6A0-926652F128C7}" dt="2024-11-30T23:46:31.629" v="31859"/>
          <ac:spMkLst>
            <pc:docMk/>
            <pc:sldMk cId="1411550433" sldId="267"/>
            <ac:spMk id="157" creationId="{EA6AABBA-0ECC-B86B-DD1F-F48C2FA65CA2}"/>
          </ac:spMkLst>
        </pc:spChg>
        <pc:spChg chg="add del mod">
          <ac:chgData name="PJ Grant" userId="21cab94c-7745-4db5-aa88-56cdc0183ba7" providerId="ADAL" clId="{C8CD02E3-132B-40F3-B6A0-926652F128C7}" dt="2024-11-30T23:46:31.628" v="31857"/>
          <ac:spMkLst>
            <pc:docMk/>
            <pc:sldMk cId="1411550433" sldId="267"/>
            <ac:spMk id="158" creationId="{5BFD0731-CD23-2BAE-72D8-F71CECADE3C2}"/>
          </ac:spMkLst>
        </pc:spChg>
        <pc:spChg chg="add del mod ord">
          <ac:chgData name="PJ Grant" userId="21cab94c-7745-4db5-aa88-56cdc0183ba7" providerId="ADAL" clId="{C8CD02E3-132B-40F3-B6A0-926652F128C7}" dt="2024-11-30T23:46:31.627" v="31856"/>
          <ac:spMkLst>
            <pc:docMk/>
            <pc:sldMk cId="1411550433" sldId="267"/>
            <ac:spMk id="159" creationId="{0637AF2A-F355-554F-4DC0-8667BBFC6FF5}"/>
          </ac:spMkLst>
        </pc:spChg>
        <pc:spChg chg="add del mod modVis">
          <ac:chgData name="PJ Grant" userId="21cab94c-7745-4db5-aa88-56cdc0183ba7" providerId="ADAL" clId="{C8CD02E3-132B-40F3-B6A0-926652F128C7}" dt="2024-11-30T23:45:00.847" v="31434"/>
          <ac:spMkLst>
            <pc:docMk/>
            <pc:sldMk cId="1411550433" sldId="267"/>
            <ac:spMk id="160" creationId="{3B811A03-649C-2C43-873D-B141AFBD73D7}"/>
          </ac:spMkLst>
        </pc:spChg>
        <pc:spChg chg="add del mod modVis">
          <ac:chgData name="PJ Grant" userId="21cab94c-7745-4db5-aa88-56cdc0183ba7" providerId="ADAL" clId="{C8CD02E3-132B-40F3-B6A0-926652F128C7}" dt="2024-11-30T23:45:54.936" v="31643"/>
          <ac:spMkLst>
            <pc:docMk/>
            <pc:sldMk cId="1411550433" sldId="267"/>
            <ac:spMk id="163" creationId="{A4B53100-B43C-BC42-6D4D-A5C0237209C8}"/>
          </ac:spMkLst>
        </pc:spChg>
        <pc:spChg chg="add del mod modVis">
          <ac:chgData name="PJ Grant" userId="21cab94c-7745-4db5-aa88-56cdc0183ba7" providerId="ADAL" clId="{C8CD02E3-132B-40F3-B6A0-926652F128C7}" dt="2024-11-30T23:46:03.027" v="31851"/>
          <ac:spMkLst>
            <pc:docMk/>
            <pc:sldMk cId="1411550433" sldId="267"/>
            <ac:spMk id="165" creationId="{17F8AFB0-810A-2035-ED12-12C8A9FDE302}"/>
          </ac:spMkLst>
        </pc:spChg>
        <pc:spChg chg="add del mod modVis">
          <ac:chgData name="PJ Grant" userId="21cab94c-7745-4db5-aa88-56cdc0183ba7" providerId="ADAL" clId="{C8CD02E3-132B-40F3-B6A0-926652F128C7}" dt="2024-11-30T23:47:11.673" v="32530"/>
          <ac:spMkLst>
            <pc:docMk/>
            <pc:sldMk cId="1411550433" sldId="267"/>
            <ac:spMk id="172" creationId="{CA50BDF3-5D86-E033-2264-382263ABDFC7}"/>
          </ac:spMkLst>
        </pc:spChg>
        <pc:spChg chg="add mod">
          <ac:chgData name="PJ Grant" userId="21cab94c-7745-4db5-aa88-56cdc0183ba7" providerId="ADAL" clId="{C8CD02E3-132B-40F3-B6A0-926652F128C7}" dt="2024-12-01T01:40:06.052" v="39717" actId="313"/>
          <ac:spMkLst>
            <pc:docMk/>
            <pc:sldMk cId="1411550433" sldId="267"/>
            <ac:spMk id="178" creationId="{5A6A760B-2702-171A-C5EA-4354FD729657}"/>
          </ac:spMkLst>
        </pc:spChg>
        <pc:grpChg chg="del">
          <ac:chgData name="PJ Grant" userId="21cab94c-7745-4db5-aa88-56cdc0183ba7" providerId="ADAL" clId="{C8CD02E3-132B-40F3-B6A0-926652F128C7}" dt="2024-11-30T23:35:38.690" v="26517" actId="165"/>
          <ac:grpSpMkLst>
            <pc:docMk/>
            <pc:sldMk cId="1411550433" sldId="267"/>
            <ac:grpSpMk id="49" creationId="{28762131-6803-3012-DA00-1688BCBB2DCD}"/>
          </ac:grpSpMkLst>
        </pc:grpChg>
        <pc:graphicFrameChg chg="mod">
          <ac:chgData name="PJ Grant" userId="21cab94c-7745-4db5-aa88-56cdc0183ba7" providerId="ADAL" clId="{C8CD02E3-132B-40F3-B6A0-926652F128C7}" dt="2024-11-30T23:47:29.245" v="32784"/>
          <ac:graphicFrameMkLst>
            <pc:docMk/>
            <pc:sldMk cId="1411550433" sldId="267"/>
            <ac:graphicFrameMk id="4" creationId="{5CD3D686-72E8-84E6-EF04-AE8F8A7F3A6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00.950" v="27257"/>
          <ac:graphicFrameMkLst>
            <pc:docMk/>
            <pc:sldMk cId="1411550433" sldId="267"/>
            <ac:graphicFrameMk id="68" creationId="{4EA5A7BB-3897-5B9C-2171-CE3E44AB564C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02.391" v="27377"/>
          <ac:graphicFrameMkLst>
            <pc:docMk/>
            <pc:sldMk cId="1411550433" sldId="267"/>
            <ac:graphicFrameMk id="70" creationId="{6509A69D-2B5F-9F5A-91D0-2649F18ABB1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06.786" v="27503"/>
          <ac:graphicFrameMkLst>
            <pc:docMk/>
            <pc:sldMk cId="1411550433" sldId="267"/>
            <ac:graphicFrameMk id="73" creationId="{19399E82-B113-C49E-AB8D-1D05A354D97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07.843" v="27635"/>
          <ac:graphicFrameMkLst>
            <pc:docMk/>
            <pc:sldMk cId="1411550433" sldId="267"/>
            <ac:graphicFrameMk id="76" creationId="{BAE5104B-914E-1EA4-FABA-61EA779A031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12.982" v="27781"/>
          <ac:graphicFrameMkLst>
            <pc:docMk/>
            <pc:sldMk cId="1411550433" sldId="267"/>
            <ac:graphicFrameMk id="79" creationId="{18030BF4-E4C0-3866-9F61-78A5351EF52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15.375" v="27880"/>
          <ac:graphicFrameMkLst>
            <pc:docMk/>
            <pc:sldMk cId="1411550433" sldId="267"/>
            <ac:graphicFrameMk id="81" creationId="{E6AD3DD8-8916-E91B-AC46-23FF884F155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19.184" v="27971"/>
          <ac:graphicFrameMkLst>
            <pc:docMk/>
            <pc:sldMk cId="1411550433" sldId="267"/>
            <ac:graphicFrameMk id="83" creationId="{1F5CA9F6-263E-6937-ECFC-68BA3D30AAE2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21.161" v="28052"/>
          <ac:graphicFrameMkLst>
            <pc:docMk/>
            <pc:sldMk cId="1411550433" sldId="267"/>
            <ac:graphicFrameMk id="84" creationId="{060387D9-1BD4-38FC-14BB-0CE5E220B5C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23.223" v="28150"/>
          <ac:graphicFrameMkLst>
            <pc:docMk/>
            <pc:sldMk cId="1411550433" sldId="267"/>
            <ac:graphicFrameMk id="85" creationId="{BCA56FA2-7390-0D7A-EFA8-E26BFEE15AAD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25.029" v="28239"/>
          <ac:graphicFrameMkLst>
            <pc:docMk/>
            <pc:sldMk cId="1411550433" sldId="267"/>
            <ac:graphicFrameMk id="86" creationId="{54855AFE-6846-2F50-F69B-A975EB091F9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27.585" v="28317"/>
          <ac:graphicFrameMkLst>
            <pc:docMk/>
            <pc:sldMk cId="1411550433" sldId="267"/>
            <ac:graphicFrameMk id="87" creationId="{BCFEE2A8-48B3-9822-70B2-CF08E7D2CCD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31.014" v="28393"/>
          <ac:graphicFrameMkLst>
            <pc:docMk/>
            <pc:sldMk cId="1411550433" sldId="267"/>
            <ac:graphicFrameMk id="88" creationId="{835D333E-096D-7DF8-DC18-999CF9DA22C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34.516" v="28461"/>
          <ac:graphicFrameMkLst>
            <pc:docMk/>
            <pc:sldMk cId="1411550433" sldId="267"/>
            <ac:graphicFrameMk id="89" creationId="{01758DCA-C731-AE2A-2D3C-5DB9B184A7D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37.318" v="28529"/>
          <ac:graphicFrameMkLst>
            <pc:docMk/>
            <pc:sldMk cId="1411550433" sldId="267"/>
            <ac:graphicFrameMk id="90" creationId="{6125D9E0-5AD1-0C27-15FA-B4D3B3D0D68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39:39.289" v="28618"/>
          <ac:graphicFrameMkLst>
            <pc:docMk/>
            <pc:sldMk cId="1411550433" sldId="267"/>
            <ac:graphicFrameMk id="91" creationId="{00E74EFE-C0A1-A942-7225-F0D67321912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02.740" v="29304"/>
          <ac:graphicFrameMkLst>
            <pc:docMk/>
            <pc:sldMk cId="1411550433" sldId="267"/>
            <ac:graphicFrameMk id="93" creationId="{EDED1025-6212-4262-5568-BE47FA255F81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39:42.634" v="28710"/>
          <ac:graphicFrameMkLst>
            <pc:docMk/>
            <pc:sldMk cId="1411550433" sldId="267"/>
            <ac:graphicFrameMk id="94" creationId="{FA36FDEA-649B-2D7E-60E3-82677274125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11.901" v="29511"/>
          <ac:graphicFrameMkLst>
            <pc:docMk/>
            <pc:sldMk cId="1411550433" sldId="267"/>
            <ac:graphicFrameMk id="96" creationId="{503216AF-A696-5209-8CD9-6099FC46C7BB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39:44.428" v="28804"/>
          <ac:graphicFrameMkLst>
            <pc:docMk/>
            <pc:sldMk cId="1411550433" sldId="267"/>
            <ac:graphicFrameMk id="97" creationId="{C7975E96-851A-AAAE-5CC1-C65C543DE3A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53.736" v="30865"/>
          <ac:graphicFrameMkLst>
            <pc:docMk/>
            <pc:sldMk cId="1411550433" sldId="267"/>
            <ac:graphicFrameMk id="99" creationId="{419C763E-355C-E17E-221C-CCFC6BB2F400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39:46.134" v="28900"/>
          <ac:graphicFrameMkLst>
            <pc:docMk/>
            <pc:sldMk cId="1411550433" sldId="267"/>
            <ac:graphicFrameMk id="100" creationId="{ED388B57-DF45-ACCC-25DD-FB6539B6D22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53.737" v="30867"/>
          <ac:graphicFrameMkLst>
            <pc:docMk/>
            <pc:sldMk cId="1411550433" sldId="267"/>
            <ac:graphicFrameMk id="102" creationId="{D0C19406-55EB-46E0-A73D-395BF3FA8AE6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39:48.296" v="28998"/>
          <ac:graphicFrameMkLst>
            <pc:docMk/>
            <pc:sldMk cId="1411550433" sldId="267"/>
            <ac:graphicFrameMk id="103" creationId="{64486A12-FEF5-5C24-7CD2-DACB0EA1966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53.735" v="30863"/>
          <ac:graphicFrameMkLst>
            <pc:docMk/>
            <pc:sldMk cId="1411550433" sldId="267"/>
            <ac:graphicFrameMk id="105" creationId="{B3970586-11A6-B781-51F6-A1E37A75A8A1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39:50.429" v="29098"/>
          <ac:graphicFrameMkLst>
            <pc:docMk/>
            <pc:sldMk cId="1411550433" sldId="267"/>
            <ac:graphicFrameMk id="106" creationId="{91CA3427-F0B4-08DB-B26F-B0A462A666C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53.733" v="30861"/>
          <ac:graphicFrameMkLst>
            <pc:docMk/>
            <pc:sldMk cId="1411550433" sldId="267"/>
            <ac:graphicFrameMk id="108" creationId="{34898762-65B9-C16C-D95C-059ECD70A6D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14.695" v="29662"/>
          <ac:graphicFrameMkLst>
            <pc:docMk/>
            <pc:sldMk cId="1411550433" sldId="267"/>
            <ac:graphicFrameMk id="112" creationId="{DE2C3ADA-4BAC-7D1B-06CB-05B3FA6CF96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16.068" v="29764"/>
          <ac:graphicFrameMkLst>
            <pc:docMk/>
            <pc:sldMk cId="1411550433" sldId="267"/>
            <ac:graphicFrameMk id="116" creationId="{C30C2458-01C2-3DC6-A55B-37AC917D8E50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16.018" v="29755"/>
          <ac:graphicFrameMkLst>
            <pc:docMk/>
            <pc:sldMk cId="1411550433" sldId="267"/>
            <ac:graphicFrameMk id="119" creationId="{51B7B186-E631-2226-1F78-BD27B2238A5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22.480" v="30242"/>
          <ac:graphicFrameMkLst>
            <pc:docMk/>
            <pc:sldMk cId="1411550433" sldId="267"/>
            <ac:graphicFrameMk id="120" creationId="{6CF4D2F4-7079-E23B-C8ED-7A6E2E34A34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18.646" v="29852"/>
          <ac:graphicFrameMkLst>
            <pc:docMk/>
            <pc:sldMk cId="1411550433" sldId="267"/>
            <ac:graphicFrameMk id="121" creationId="{8E0F01B5-4ACF-70F9-60BE-226218F7E94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20.435" v="30089"/>
          <ac:graphicFrameMkLst>
            <pc:docMk/>
            <pc:sldMk cId="1411550433" sldId="267"/>
            <ac:graphicFrameMk id="122" creationId="{F69CD017-67A1-46CA-44DF-1E37A09A29FA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37.321" v="30672"/>
          <ac:graphicFrameMkLst>
            <pc:docMk/>
            <pc:sldMk cId="1411550433" sldId="267"/>
            <ac:graphicFrameMk id="126" creationId="{A7513E6D-91BC-83A1-D7C6-B35B0C27DA7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23.695" v="30337"/>
          <ac:graphicFrameMkLst>
            <pc:docMk/>
            <pc:sldMk cId="1411550433" sldId="267"/>
            <ac:graphicFrameMk id="129" creationId="{B7342A7D-7C3F-8F61-62AE-22BD858424B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27.541" v="30576"/>
          <ac:graphicFrameMkLst>
            <pc:docMk/>
            <pc:sldMk cId="1411550433" sldId="267"/>
            <ac:graphicFrameMk id="130" creationId="{2544C88A-D101-F01C-984C-657BE751EC3E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51.186" v="32193"/>
          <ac:graphicFrameMkLst>
            <pc:docMk/>
            <pc:sldMk cId="1411550433" sldId="267"/>
            <ac:graphicFrameMk id="134" creationId="{01635318-C28B-B596-3FC6-51DB5D6530D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4:44.361" v="30770"/>
          <ac:graphicFrameMkLst>
            <pc:docMk/>
            <pc:sldMk cId="1411550433" sldId="267"/>
            <ac:graphicFrameMk id="135" creationId="{4BFE6A60-D634-D5AD-1505-07F0D4C2F1B9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33.369" v="31883"/>
          <ac:graphicFrameMkLst>
            <pc:docMk/>
            <pc:sldMk cId="1411550433" sldId="267"/>
            <ac:graphicFrameMk id="136" creationId="{CA280780-691E-6823-6FFC-9E134101C497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44:58.131" v="31007"/>
          <ac:graphicFrameMkLst>
            <pc:docMk/>
            <pc:sldMk cId="1411550433" sldId="267"/>
            <ac:graphicFrameMk id="137" creationId="{2A199C9F-E4F7-30CD-BF9C-D1BF95B0666C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44:58.181" v="31048"/>
          <ac:graphicFrameMkLst>
            <pc:docMk/>
            <pc:sldMk cId="1411550433" sldId="267"/>
            <ac:graphicFrameMk id="142" creationId="{27E34446-B842-1088-E784-87EBA5720A0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5:54.789" v="31533"/>
          <ac:graphicFrameMkLst>
            <pc:docMk/>
            <pc:sldMk cId="1411550433" sldId="267"/>
            <ac:graphicFrameMk id="148" creationId="{F98D12D5-47E5-F535-A1A9-86755DEB41D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02.939" v="31742"/>
          <ac:graphicFrameMkLst>
            <pc:docMk/>
            <pc:sldMk cId="1411550433" sldId="267"/>
            <ac:graphicFrameMk id="149" creationId="{0A8FF645-94B2-F091-3EF3-17BF5990B993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45:00.735" v="31282"/>
          <ac:graphicFrameMkLst>
            <pc:docMk/>
            <pc:sldMk cId="1411550433" sldId="267"/>
            <ac:graphicFrameMk id="150" creationId="{E09704C2-8902-25BE-4C5A-814856A41093}"/>
          </ac:graphicFrameMkLst>
        </pc:graphicFrameChg>
        <pc:graphicFrameChg chg="add del mod">
          <ac:chgData name="PJ Grant" userId="21cab94c-7745-4db5-aa88-56cdc0183ba7" providerId="ADAL" clId="{C8CD02E3-132B-40F3-B6A0-926652F128C7}" dt="2024-11-30T23:45:00.794" v="31323"/>
          <ac:graphicFrameMkLst>
            <pc:docMk/>
            <pc:sldMk cId="1411550433" sldId="267"/>
            <ac:graphicFrameMk id="155" creationId="{34E766AD-7A21-782A-64C3-1FEC7A25D105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56.435" v="32291"/>
          <ac:graphicFrameMkLst>
            <pc:docMk/>
            <pc:sldMk cId="1411550433" sldId="267"/>
            <ac:graphicFrameMk id="161" creationId="{312D3507-D9D9-7AF2-FE46-E52660BE0777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31.630" v="31862"/>
          <ac:graphicFrameMkLst>
            <pc:docMk/>
            <pc:sldMk cId="1411550433" sldId="267"/>
            <ac:graphicFrameMk id="162" creationId="{B2021F41-3A8E-90D2-CF87-E168D1652B58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43.151" v="31905"/>
          <ac:graphicFrameMkLst>
            <pc:docMk/>
            <pc:sldMk cId="1411550433" sldId="267"/>
            <ac:graphicFrameMk id="164" creationId="{65E1F09F-99AA-7861-1938-907839621C7F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32.511" v="31872"/>
          <ac:graphicFrameMkLst>
            <pc:docMk/>
            <pc:sldMk cId="1411550433" sldId="267"/>
            <ac:graphicFrameMk id="166" creationId="{D30B37F1-7D49-9F8A-C402-738101616484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45.205" v="31997"/>
          <ac:graphicFrameMkLst>
            <pc:docMk/>
            <pc:sldMk cId="1411550433" sldId="267"/>
            <ac:graphicFrameMk id="167" creationId="{BFD029D0-46B3-450F-31C8-B3BCFE148833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6:46.405" v="32092"/>
          <ac:graphicFrameMkLst>
            <pc:docMk/>
            <pc:sldMk cId="1411550433" sldId="267"/>
            <ac:graphicFrameMk id="168" creationId="{4FA5F966-4F30-CC57-A0EC-4DA22B58298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7:27.261" v="32628"/>
          <ac:graphicFrameMkLst>
            <pc:docMk/>
            <pc:sldMk cId="1411550433" sldId="267"/>
            <ac:graphicFrameMk id="169" creationId="{D167D124-2F0A-D7F0-2AE6-A9AACCF0777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7:25.546" v="32544"/>
          <ac:graphicFrameMkLst>
            <pc:docMk/>
            <pc:sldMk cId="1411550433" sldId="267"/>
            <ac:graphicFrameMk id="170" creationId="{D3B18356-223B-36FC-8EA1-561DD51E333B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7:11.556" v="32458"/>
          <ac:graphicFrameMkLst>
            <pc:docMk/>
            <pc:sldMk cId="1411550433" sldId="267"/>
            <ac:graphicFrameMk id="171" creationId="{0806F099-E747-8C5C-C139-4419899CD691}"/>
          </ac:graphicFrameMkLst>
        </pc:graphicFrameChg>
        <pc:graphicFrameChg chg="add del mod ord">
          <ac:chgData name="PJ Grant" userId="21cab94c-7745-4db5-aa88-56cdc0183ba7" providerId="ADAL" clId="{C8CD02E3-132B-40F3-B6A0-926652F128C7}" dt="2024-11-30T23:47:29.195" v="32712"/>
          <ac:graphicFrameMkLst>
            <pc:docMk/>
            <pc:sldMk cId="1411550433" sldId="267"/>
            <ac:graphicFrameMk id="173" creationId="{5C2417F5-C190-DB7E-575E-826C147329A1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3:47:29.239" v="32763"/>
          <ac:graphicFrameMkLst>
            <pc:docMk/>
            <pc:sldMk cId="1411550433" sldId="267"/>
            <ac:graphicFrameMk id="174" creationId="{7795BAF4-DA4B-DFEF-F7DD-3117F30E9C0D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3:47:29.241" v="32770"/>
          <ac:graphicFrameMkLst>
            <pc:docMk/>
            <pc:sldMk cId="1411550433" sldId="267"/>
            <ac:graphicFrameMk id="175" creationId="{AE5BCDE4-46D2-2B2A-2DBB-E782CA76FF0F}"/>
          </ac:graphicFrameMkLst>
        </pc:graphicFrameChg>
        <pc:graphicFrameChg chg="add mod ord">
          <ac:chgData name="PJ Grant" userId="21cab94c-7745-4db5-aa88-56cdc0183ba7" providerId="ADAL" clId="{C8CD02E3-132B-40F3-B6A0-926652F128C7}" dt="2024-11-30T23:47:29.243" v="32777"/>
          <ac:graphicFrameMkLst>
            <pc:docMk/>
            <pc:sldMk cId="1411550433" sldId="267"/>
            <ac:graphicFrameMk id="176" creationId="{BD5D2303-6BC7-DA32-9702-1345F70B13FF}"/>
          </ac:graphicFrameMkLst>
        </pc:graphicFrameChg>
        <pc:cxnChg chg="mod ord">
          <ac:chgData name="PJ Grant" userId="21cab94c-7745-4db5-aa88-56cdc0183ba7" providerId="ADAL" clId="{C8CD02E3-132B-40F3-B6A0-926652F128C7}" dt="2024-12-01T01:29:39.683" v="38201" actId="14100"/>
          <ac:cxnSpMkLst>
            <pc:docMk/>
            <pc:sldMk cId="1411550433" sldId="267"/>
            <ac:cxnSpMk id="8" creationId="{95934C45-FCB8-7B79-0BD4-3BDDB637EAA6}"/>
          </ac:cxnSpMkLst>
        </pc:cxnChg>
        <pc:cxnChg chg="mod ord topLvl">
          <ac:chgData name="PJ Grant" userId="21cab94c-7745-4db5-aa88-56cdc0183ba7" providerId="ADAL" clId="{C8CD02E3-132B-40F3-B6A0-926652F128C7}" dt="2024-11-30T23:47:29.235" v="32743"/>
          <ac:cxnSpMkLst>
            <pc:docMk/>
            <pc:sldMk cId="1411550433" sldId="267"/>
            <ac:cxnSpMk id="10" creationId="{7F9FA079-CA62-FC65-ABE4-4A889B567E6D}"/>
          </ac:cxnSpMkLst>
        </pc:cxnChg>
        <pc:cxnChg chg="del mod">
          <ac:chgData name="PJ Grant" userId="21cab94c-7745-4db5-aa88-56cdc0183ba7" providerId="ADAL" clId="{C8CD02E3-132B-40F3-B6A0-926652F128C7}" dt="2024-11-30T23:37:29.581" v="26614" actId="478"/>
          <ac:cxnSpMkLst>
            <pc:docMk/>
            <pc:sldMk cId="1411550433" sldId="267"/>
            <ac:cxnSpMk id="17" creationId="{CBCAF8EF-3204-8A0E-F6C2-A18ED7E8984C}"/>
          </ac:cxnSpMkLst>
        </pc:cxnChg>
        <pc:cxnChg chg="mod ord topLvl">
          <ac:chgData name="PJ Grant" userId="21cab94c-7745-4db5-aa88-56cdc0183ba7" providerId="ADAL" clId="{C8CD02E3-132B-40F3-B6A0-926652F128C7}" dt="2024-11-30T23:47:29.236" v="32745"/>
          <ac:cxnSpMkLst>
            <pc:docMk/>
            <pc:sldMk cId="1411550433" sldId="267"/>
            <ac:cxnSpMk id="24" creationId="{8125EFEE-40A1-6B79-FDAA-C0BEC1366AD7}"/>
          </ac:cxnSpMkLst>
        </pc:cxnChg>
        <pc:cxnChg chg="mod ord topLvl">
          <ac:chgData name="PJ Grant" userId="21cab94c-7745-4db5-aa88-56cdc0183ba7" providerId="ADAL" clId="{C8CD02E3-132B-40F3-B6A0-926652F128C7}" dt="2024-11-30T23:47:29.236" v="32747"/>
          <ac:cxnSpMkLst>
            <pc:docMk/>
            <pc:sldMk cId="1411550433" sldId="267"/>
            <ac:cxnSpMk id="25" creationId="{F59AC662-F810-A3FA-58BC-7D55BEFD5675}"/>
          </ac:cxnSpMkLst>
        </pc:cxnChg>
        <pc:cxnChg chg="del mod topLvl">
          <ac:chgData name="PJ Grant" userId="21cab94c-7745-4db5-aa88-56cdc0183ba7" providerId="ADAL" clId="{C8CD02E3-132B-40F3-B6A0-926652F128C7}" dt="2024-11-30T23:36:51.030" v="26602" actId="478"/>
          <ac:cxnSpMkLst>
            <pc:docMk/>
            <pc:sldMk cId="1411550433" sldId="267"/>
            <ac:cxnSpMk id="26" creationId="{FC3CA050-3EF3-2E44-1DDC-E11F8C6DFA9D}"/>
          </ac:cxnSpMkLst>
        </pc:cxnChg>
        <pc:cxnChg chg="del mod topLvl">
          <ac:chgData name="PJ Grant" userId="21cab94c-7745-4db5-aa88-56cdc0183ba7" providerId="ADAL" clId="{C8CD02E3-132B-40F3-B6A0-926652F128C7}" dt="2024-11-30T23:35:41.772" v="26518" actId="478"/>
          <ac:cxnSpMkLst>
            <pc:docMk/>
            <pc:sldMk cId="1411550433" sldId="267"/>
            <ac:cxnSpMk id="27" creationId="{D138A455-EFB2-B5E7-BCA8-5C4B532E6F2D}"/>
          </ac:cxnSpMkLst>
        </pc:cxnChg>
        <pc:cxnChg chg="add del mod ord">
          <ac:chgData name="PJ Grant" userId="21cab94c-7745-4db5-aa88-56cdc0183ba7" providerId="ADAL" clId="{C8CD02E3-132B-40F3-B6A0-926652F128C7}" dt="2024-11-30T23:46:35.344" v="31887" actId="478"/>
          <ac:cxnSpMkLst>
            <pc:docMk/>
            <pc:sldMk cId="1411550433" sldId="267"/>
            <ac:cxnSpMk id="28" creationId="{36BC4D58-2173-F046-DE50-B4F31404C65F}"/>
          </ac:cxnSpMkLst>
        </pc:cxnChg>
        <pc:cxnChg chg="del mod ord topLvl">
          <ac:chgData name="PJ Grant" userId="21cab94c-7745-4db5-aa88-56cdc0183ba7" providerId="ADAL" clId="{C8CD02E3-132B-40F3-B6A0-926652F128C7}" dt="2024-11-30T23:46:48.231" v="32171" actId="478"/>
          <ac:cxnSpMkLst>
            <pc:docMk/>
            <pc:sldMk cId="1411550433" sldId="267"/>
            <ac:cxnSpMk id="29" creationId="{42AC2A33-5EBE-60FC-2213-391D2ADFE751}"/>
          </ac:cxnSpMkLst>
        </pc:cxnChg>
        <pc:cxnChg chg="del mod topLvl">
          <ac:chgData name="PJ Grant" userId="21cab94c-7745-4db5-aa88-56cdc0183ba7" providerId="ADAL" clId="{C8CD02E3-132B-40F3-B6A0-926652F128C7}" dt="2024-11-30T23:36:26.425" v="26557" actId="478"/>
          <ac:cxnSpMkLst>
            <pc:docMk/>
            <pc:sldMk cId="1411550433" sldId="267"/>
            <ac:cxnSpMk id="34" creationId="{850CE6EB-80E7-611D-BC3E-1335DC87A12C}"/>
          </ac:cxnSpMkLst>
        </pc:cxnChg>
        <pc:cxnChg chg="del mod topLvl">
          <ac:chgData name="PJ Grant" userId="21cab94c-7745-4db5-aa88-56cdc0183ba7" providerId="ADAL" clId="{C8CD02E3-132B-40F3-B6A0-926652F128C7}" dt="2024-11-30T23:36:26.425" v="26557" actId="478"/>
          <ac:cxnSpMkLst>
            <pc:docMk/>
            <pc:sldMk cId="1411550433" sldId="267"/>
            <ac:cxnSpMk id="35" creationId="{09E5ECD7-7DB8-5482-CCBD-7C5F0C2A0412}"/>
          </ac:cxnSpMkLst>
        </pc:cxnChg>
        <pc:cxnChg chg="del mod topLvl">
          <ac:chgData name="PJ Grant" userId="21cab94c-7745-4db5-aa88-56cdc0183ba7" providerId="ADAL" clId="{C8CD02E3-132B-40F3-B6A0-926652F128C7}" dt="2024-11-30T23:36:29.504" v="26558" actId="478"/>
          <ac:cxnSpMkLst>
            <pc:docMk/>
            <pc:sldMk cId="1411550433" sldId="267"/>
            <ac:cxnSpMk id="39" creationId="{610753B2-19E0-8287-DE8B-EF8D43AB757B}"/>
          </ac:cxnSpMkLst>
        </pc:cxnChg>
        <pc:cxnChg chg="del mod topLvl">
          <ac:chgData name="PJ Grant" userId="21cab94c-7745-4db5-aa88-56cdc0183ba7" providerId="ADAL" clId="{C8CD02E3-132B-40F3-B6A0-926652F128C7}" dt="2024-11-30T23:36:29.504" v="26558" actId="478"/>
          <ac:cxnSpMkLst>
            <pc:docMk/>
            <pc:sldMk cId="1411550433" sldId="267"/>
            <ac:cxnSpMk id="40" creationId="{25C52706-B9F1-851B-E959-56969248D6F6}"/>
          </ac:cxnSpMkLst>
        </pc:cxnChg>
        <pc:cxnChg chg="del mod topLvl">
          <ac:chgData name="PJ Grant" userId="21cab94c-7745-4db5-aa88-56cdc0183ba7" providerId="ADAL" clId="{C8CD02E3-132B-40F3-B6A0-926652F128C7}" dt="2024-11-30T23:36:31.463" v="26559" actId="478"/>
          <ac:cxnSpMkLst>
            <pc:docMk/>
            <pc:sldMk cId="1411550433" sldId="267"/>
            <ac:cxnSpMk id="44" creationId="{9FE55370-08DF-B19D-A83E-D3F0DDC43E98}"/>
          </ac:cxnSpMkLst>
        </pc:cxnChg>
        <pc:cxnChg chg="del mod topLvl">
          <ac:chgData name="PJ Grant" userId="21cab94c-7745-4db5-aa88-56cdc0183ba7" providerId="ADAL" clId="{C8CD02E3-132B-40F3-B6A0-926652F128C7}" dt="2024-11-30T23:36:31.463" v="26559" actId="478"/>
          <ac:cxnSpMkLst>
            <pc:docMk/>
            <pc:sldMk cId="1411550433" sldId="267"/>
            <ac:cxnSpMk id="45" creationId="{E79B3D4E-01AF-731C-A714-6261639976A7}"/>
          </ac:cxnSpMkLst>
        </pc:cxnChg>
        <pc:cxnChg chg="add del mod ord">
          <ac:chgData name="PJ Grant" userId="21cab94c-7745-4db5-aa88-56cdc0183ba7" providerId="ADAL" clId="{C8CD02E3-132B-40F3-B6A0-926652F128C7}" dt="2024-11-30T23:46:53.206" v="32269" actId="478"/>
          <ac:cxnSpMkLst>
            <pc:docMk/>
            <pc:sldMk cId="1411550433" sldId="267"/>
            <ac:cxnSpMk id="52" creationId="{3E80C7A3-A134-5A89-91F7-BB2EBF940987}"/>
          </ac:cxnSpMkLst>
        </pc:cxnChg>
        <pc:cxnChg chg="add mod ord">
          <ac:chgData name="PJ Grant" userId="21cab94c-7745-4db5-aa88-56cdc0183ba7" providerId="ADAL" clId="{C8CD02E3-132B-40F3-B6A0-926652F128C7}" dt="2024-11-30T23:47:29.238" v="32759"/>
          <ac:cxnSpMkLst>
            <pc:docMk/>
            <pc:sldMk cId="1411550433" sldId="267"/>
            <ac:cxnSpMk id="55" creationId="{2D312AE2-B2B2-370D-6429-BDC8CAC61830}"/>
          </ac:cxnSpMkLst>
        </pc:cxnChg>
      </pc:sldChg>
      <pc:sldMasterChg chg="delSldLayout">
        <pc:chgData name="PJ Grant" userId="21cab94c-7745-4db5-aa88-56cdc0183ba7" providerId="ADAL" clId="{C8CD02E3-132B-40F3-B6A0-926652F128C7}" dt="2024-11-30T23:47:37.486" v="32785" actId="47"/>
        <pc:sldMasterMkLst>
          <pc:docMk/>
          <pc:sldMasterMk cId="3314531895" sldId="2147483660"/>
        </pc:sldMasterMkLst>
        <pc:sldLayoutChg chg="del">
          <pc:chgData name="PJ Grant" userId="21cab94c-7745-4db5-aa88-56cdc0183ba7" providerId="ADAL" clId="{C8CD02E3-132B-40F3-B6A0-926652F128C7}" dt="2024-11-30T23:47:37.486" v="32785" actId="47"/>
          <pc:sldLayoutMkLst>
            <pc:docMk/>
            <pc:sldMasterMk cId="3314531895" sldId="2147483660"/>
            <pc:sldLayoutMk cId="62713756" sldId="2147483666"/>
          </pc:sldLayoutMkLst>
        </pc:sldLayoutChg>
        <pc:sldLayoutChg chg="del">
          <pc:chgData name="PJ Grant" userId="21cab94c-7745-4db5-aa88-56cdc0183ba7" providerId="ADAL" clId="{C8CD02E3-132B-40F3-B6A0-926652F128C7}" dt="2024-11-30T23:47:37.486" v="32785" actId="47"/>
          <pc:sldLayoutMkLst>
            <pc:docMk/>
            <pc:sldMasterMk cId="3314531895" sldId="2147483660"/>
            <pc:sldLayoutMk cId="1330639248" sldId="2147483667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88728024819028E-2"/>
          <c:y val="2.7310924369747899E-2"/>
          <c:w val="0.94622543950361948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79333</c:v>
                </c:pt>
                <c:pt idx="1">
                  <c:v>175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B2-4794-9EC6-CE04E31A9738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66392</c:v>
                </c:pt>
                <c:pt idx="1">
                  <c:v>157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B2-4794-9EC6-CE04E31A9738}"/>
            </c:ext>
          </c:extLst>
        </c:ser>
        <c:ser>
          <c:idx val="2"/>
          <c:order val="2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34667</c:v>
                </c:pt>
                <c:pt idx="1">
                  <c:v>146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B2-4794-9EC6-CE04E31A9738}"/>
            </c:ext>
          </c:extLst>
        </c:ser>
        <c:ser>
          <c:idx val="3"/>
          <c:order val="3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82667</c:v>
                </c:pt>
                <c:pt idx="1">
                  <c:v>112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B2-4794-9EC6-CE04E31A97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30767823"/>
        <c:axId val="1"/>
      </c:barChart>
      <c:catAx>
        <c:axId val="19307678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9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07678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76578411405296E-2"/>
          <c:y val="2.7310924369747899E-2"/>
          <c:w val="0.94704684317718946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4474</c:v>
                </c:pt>
                <c:pt idx="1">
                  <c:v>83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A-44E1-941A-3E6685758762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6097</c:v>
                </c:pt>
                <c:pt idx="1">
                  <c:v>735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8A-44E1-941A-3E6685758762}"/>
            </c:ext>
          </c:extLst>
        </c:ser>
        <c:ser>
          <c:idx val="2"/>
          <c:order val="2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70723</c:v>
                </c:pt>
                <c:pt idx="1">
                  <c:v>7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8A-44E1-941A-3E6685758762}"/>
            </c:ext>
          </c:extLst>
        </c:ser>
        <c:ser>
          <c:idx val="3"/>
          <c:order val="3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7708</c:v>
                </c:pt>
                <c:pt idx="1">
                  <c:v>61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8A-44E1-941A-3E6685758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30770703"/>
        <c:axId val="1"/>
      </c:barChart>
      <c:catAx>
        <c:axId val="19307707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9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07707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72324011571841E-2"/>
          <c:y val="2.7310924369747899E-2"/>
          <c:w val="0.94985535197685633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1">
                  <c:v>127933.3333333333</c:v>
                </c:pt>
                <c:pt idx="2">
                  <c:v>161530.76923076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6-4C90-84F1-4574EB549EE8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150000</c:v>
                </c:pt>
                <c:pt idx="2">
                  <c:v>1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C6-4C90-84F1-4574EB549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29958015"/>
        <c:axId val="1"/>
      </c:barChart>
      <c:catAx>
        <c:axId val="1929958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5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299580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72324011571841E-2"/>
          <c:y val="2.7310924369747899E-2"/>
          <c:w val="0.94985535197685633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92500</c:v>
                </c:pt>
                <c:pt idx="1">
                  <c:v>128766.5</c:v>
                </c:pt>
                <c:pt idx="2">
                  <c:v>140499.29545454541</c:v>
                </c:pt>
                <c:pt idx="3">
                  <c:v>245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56-4941-B92C-FEC0895DE71F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92500</c:v>
                </c:pt>
                <c:pt idx="1">
                  <c:v>124550</c:v>
                </c:pt>
                <c:pt idx="2">
                  <c:v>136497</c:v>
                </c:pt>
                <c:pt idx="3">
                  <c:v>22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56-4941-B92C-FEC0895DE7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14567791"/>
        <c:axId val="1"/>
      </c:barChart>
      <c:catAx>
        <c:axId val="1614567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5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45677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088399605652317E-2"/>
          <c:y val="8.3333333333333329E-2"/>
          <c:w val="0.96582320078869532"/>
          <c:h val="0.833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80000</c:v>
                </c:pt>
                <c:pt idx="1">
                  <c:v>0</c:v>
                </c:pt>
                <c:pt idx="2">
                  <c:v>50714.75</c:v>
                </c:pt>
                <c:pt idx="3">
                  <c:v>38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FD-40FD-9BBB-92CA405BC8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53921200"/>
        <c:axId val="1"/>
      </c:barChart>
      <c:catAx>
        <c:axId val="1953921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53921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088399605652317E-2"/>
          <c:y val="0.12903225806451613"/>
          <c:w val="0.96582320078869532"/>
          <c:h val="0.741935483870967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0</c:v>
                </c:pt>
                <c:pt idx="1">
                  <c:v>68147</c:v>
                </c:pt>
                <c:pt idx="2">
                  <c:v>85724.4</c:v>
                </c:pt>
                <c:pt idx="3">
                  <c:v>7007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13-4212-9A1D-D4CC22E44C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53929840"/>
        <c:axId val="1"/>
      </c:barChart>
      <c:catAx>
        <c:axId val="1953929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724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539298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088399605652317E-2"/>
          <c:y val="8.9041095890410954E-2"/>
          <c:w val="0.96582320078869532"/>
          <c:h val="0.821917808219178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0</c:v>
                </c:pt>
                <c:pt idx="1">
                  <c:v>87932</c:v>
                </c:pt>
                <c:pt idx="2">
                  <c:v>111245.5</c:v>
                </c:pt>
                <c:pt idx="3">
                  <c:v>47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57-4E98-B75A-058B7092C5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32237775"/>
        <c:axId val="1"/>
      </c:barChart>
      <c:catAx>
        <c:axId val="17322377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1245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322377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screenshot, font, graphics&#10;&#10;Description automatically generated">
            <a:extLst>
              <a:ext uri="{FF2B5EF4-FFF2-40B4-BE49-F238E27FC236}">
                <a16:creationId xmlns:a16="http://schemas.microsoft.com/office/drawing/2014/main" id="{93F6A522-F2FC-1263-BA89-D3EA8780AA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7" t="1197"/>
          <a:stretch/>
        </p:blipFill>
        <p:spPr>
          <a:xfrm>
            <a:off x="-67880" y="-56273"/>
            <a:ext cx="12327760" cy="697054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0E2CD4-B95C-14C1-D508-2718B132A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834B-2E9E-06F1-CED1-927011FA8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CE9CE4-6ADD-D08C-D517-EA004FEC78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82800" y="1962479"/>
            <a:ext cx="9061450" cy="10035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4400">
                <a:solidFill>
                  <a:srgbClr val="4CADE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4892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screenshot, font, graphics&#10;&#10;Description automatically generated">
            <a:extLst>
              <a:ext uri="{FF2B5EF4-FFF2-40B4-BE49-F238E27FC236}">
                <a16:creationId xmlns:a16="http://schemas.microsoft.com/office/drawing/2014/main" id="{93F6A522-F2FC-1263-BA89-D3EA8780AA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7" t="1197"/>
          <a:stretch/>
        </p:blipFill>
        <p:spPr>
          <a:xfrm>
            <a:off x="-67880" y="-56273"/>
            <a:ext cx="12327760" cy="697054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0E2CD4-B95C-14C1-D508-2718B132A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834B-2E9E-06F1-CED1-927011FA8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0A3A6D9-6B12-6B60-8AB7-58A13491D8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4865" y="2550157"/>
            <a:ext cx="11642269" cy="110799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6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8884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4" descr="A picture containing white&#10;&#10;Description automatically generated">
            <a:extLst>
              <a:ext uri="{FF2B5EF4-FFF2-40B4-BE49-F238E27FC236}">
                <a16:creationId xmlns:a16="http://schemas.microsoft.com/office/drawing/2014/main" id="{FEE140E2-CF5C-AE46-899B-B15FFAF10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753B6F1-A667-0538-4A98-88A5EDA1D3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6416246" cy="318932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Autofit/>
          </a:bodyPr>
          <a:lstStyle>
            <a:lvl1pPr marL="0" indent="0">
              <a:buNone/>
              <a:defRPr lang="en-US" sz="1200" spc="300" dirty="0" smtClean="0">
                <a:solidFill>
                  <a:srgbClr val="002060"/>
                </a:solidFill>
                <a:ea typeface="+mn-lt"/>
                <a:cs typeface="+mn-lt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7D9BFF-7C26-41F1-E945-2844D55561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800" y="6356350"/>
            <a:ext cx="2743200" cy="365125"/>
          </a:xfrm>
        </p:spPr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EF1D53-8376-F1AC-3479-CD5C39496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B079F9-1734-347A-459F-A188ED811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98000" y="6356350"/>
            <a:ext cx="2743200" cy="365125"/>
          </a:xfrm>
        </p:spPr>
        <p:txBody>
          <a:bodyPr/>
          <a:lstStyle/>
          <a:p>
            <a:fld id="{9F3C3670-40C5-4169-ACA1-1C077946A04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EE5CB8D-25C4-C586-538F-FE1E2EB05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99" y="453306"/>
            <a:ext cx="11642268" cy="461665"/>
          </a:xfrm>
          <a:prstGeom prst="rect">
            <a:avLst/>
          </a:prstGeom>
        </p:spPr>
        <p:txBody>
          <a:bodyPr/>
          <a:lstStyle>
            <a:lvl1pPr>
              <a:defRPr lang="en-US" sz="2400" b="1" kern="1200" dirty="0" smtClean="0">
                <a:solidFill>
                  <a:srgbClr val="0B2738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9359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9369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4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5AF19DD-2916-44AA-B4B1-07C3706CE9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58100" y="1651000"/>
            <a:ext cx="3781426" cy="4443054"/>
          </a:xfrm>
          <a:custGeom>
            <a:avLst/>
            <a:gdLst>
              <a:gd name="connsiteX0" fmla="*/ 0 w 5343526"/>
              <a:gd name="connsiteY0" fmla="*/ 0 h 3465154"/>
              <a:gd name="connsiteX1" fmla="*/ 5343526 w 5343526"/>
              <a:gd name="connsiteY1" fmla="*/ 0 h 3465154"/>
              <a:gd name="connsiteX2" fmla="*/ 5343526 w 5343526"/>
              <a:gd name="connsiteY2" fmla="*/ 3465154 h 3465154"/>
              <a:gd name="connsiteX3" fmla="*/ 0 w 5343526"/>
              <a:gd name="connsiteY3" fmla="*/ 3465154 h 3465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43526" h="3465154">
                <a:moveTo>
                  <a:pt x="0" y="0"/>
                </a:moveTo>
                <a:lnTo>
                  <a:pt x="5343526" y="0"/>
                </a:lnTo>
                <a:lnTo>
                  <a:pt x="5343526" y="3465154"/>
                </a:lnTo>
                <a:lnTo>
                  <a:pt x="0" y="3465154"/>
                </a:lnTo>
                <a:close/>
              </a:path>
            </a:pathLst>
          </a:custGeom>
          <a:effectLst>
            <a:outerShdw blurRad="228600" dist="127000" dir="2700000" algn="tl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64542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C156AC-1898-3D7D-9DBB-4D9880C84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3443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156AC-1898-3D7D-9DBB-4D9880C84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4" descr="A picture containing white&#10;&#10;Description automatically generated">
            <a:extLst>
              <a:ext uri="{FF2B5EF4-FFF2-40B4-BE49-F238E27FC236}">
                <a16:creationId xmlns:a16="http://schemas.microsoft.com/office/drawing/2014/main" id="{05E57D88-8F17-78A1-5F19-2AC0DE2D4DB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-4471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0317EE-DD15-6552-9E35-3284EF93AA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762656-F90C-F7F3-5DC6-DF6615C6C0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366D5-938E-C5DD-D903-DB3D7D7617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980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C3670-40C5-4169-ACA1-1C077946A0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53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image" Target="../media/image1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Layout" Target="../slideLayouts/slideLayout3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chart" Target="../charts/chart1.xml"/><Relationship Id="rId8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34" Type="http://schemas.openxmlformats.org/officeDocument/2006/relationships/image" Target="../media/image5.svg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33" Type="http://schemas.openxmlformats.org/officeDocument/2006/relationships/image" Target="../media/image4.png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oleObject" Target="../embeddings/oleObject4.bin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chart" Target="../charts/chart4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slideLayout" Target="../slideLayouts/slideLayout3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chart" Target="../charts/chart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image" Target="../media/image1.emf"/><Relationship Id="rId8" Type="http://schemas.openxmlformats.org/officeDocument/2006/relationships/tags" Target="../tags/tag4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oleObject" Target="../embeddings/oleObject5.bin"/><Relationship Id="rId3" Type="http://schemas.openxmlformats.org/officeDocument/2006/relationships/tags" Target="../tags/tag64.xml"/><Relationship Id="rId21" Type="http://schemas.openxmlformats.org/officeDocument/2006/relationships/chart" Target="../charts/chart6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chart" Target="../charts/chart5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10" Type="http://schemas.openxmlformats.org/officeDocument/2006/relationships/tags" Target="../tags/tag71.xml"/><Relationship Id="rId19" Type="http://schemas.openxmlformats.org/officeDocument/2006/relationships/image" Target="../media/image1.emf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chart" Target="../charts/char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096F5C-BF47-BD42-0CCF-98FFB9E5E5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605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096F5C-BF47-BD42-0CCF-98FFB9E5E5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A4831C-7676-C16F-010B-6C53FC5A79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7" y="136524"/>
            <a:ext cx="10163177" cy="318932"/>
          </a:xfrm>
        </p:spPr>
        <p:txBody>
          <a:bodyPr/>
          <a:lstStyle/>
          <a:p>
            <a:r>
              <a:rPr lang="en-US" dirty="0"/>
              <a:t>DSE5002 PROJECT 1 | EXECUTIVE SUMMAR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CF98A85-AE70-B332-3B22-821FEC357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ecutive Summary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B902A62-7AA4-A6F2-7953-68DF96B354BF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684A2B-C3DC-D04F-1DC4-BFCB61328604}"/>
              </a:ext>
            </a:extLst>
          </p:cNvPr>
          <p:cNvSpPr/>
          <p:nvPr/>
        </p:nvSpPr>
        <p:spPr>
          <a:xfrm>
            <a:off x="283033" y="1126826"/>
            <a:ext cx="11625934" cy="49730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726E28-9BAF-952A-DD7E-9CB6EC7770C3}"/>
              </a:ext>
            </a:extLst>
          </p:cNvPr>
          <p:cNvSpPr txBox="1"/>
          <p:nvPr/>
        </p:nvSpPr>
        <p:spPr>
          <a:xfrm>
            <a:off x="447674" y="1231753"/>
            <a:ext cx="11363326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When looking to bolster their analytics functions, companies often face difficulties when trying to determine the differences between the key roles</a:t>
            </a:r>
            <a:r>
              <a:rPr lang="en-US" sz="1600" b="1" dirty="0"/>
              <a:t>: Data Analyst, Data Engineer, Data Scientist, and Machine Learning Engineer(MLE)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Onshore roles for small to medium sized companies are typically 2x offshore, though the salary growth of outsourced countries has been 35-40% per annum from 2020 to 2022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This report recommends that the CEO creates the analytics function with two roles, a Senior Expert level Data Scientist, and a Mid-Level Data Engineer that are US based and have experience working in small and medium sized busines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ll-in costs for these two roles will be approximately US$250-300k plus overhead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Once the function is established and the company seeks additional resources to scale, we recommend the look globally for cost effective talent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our foreign markets, Canada, Great Britain, France, and Spain present offshoring opportunities due to political stability, an educated workforce and large English-speaking population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523677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D8579B6-E1E7-1E40-7D14-9830658C8E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629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04" imgH="405" progId="TCLayout.ActiveDocument.1">
                  <p:embed/>
                </p:oleObj>
              </mc:Choice>
              <mc:Fallback>
                <p:oleObj name="think-cell Slide" r:id="rId3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8579B6-E1E7-1E40-7D14-9830658C8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ADBF26-6873-9B17-C58A-86B9E108D5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12026902" cy="318932"/>
          </a:xfrm>
        </p:spPr>
        <p:txBody>
          <a:bodyPr/>
          <a:lstStyle/>
          <a:p>
            <a:r>
              <a:rPr lang="en-US" dirty="0"/>
              <a:t>DSE5002 PROJECT 1 | OVERVIEW OF COMMON DATA SCIENCE RO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7A5BDF-10D8-8733-DADA-D9C46D000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miliarizing ourselves with the key roles within the data science ecosystems allows us to identify which titles we should prioritize for foundatio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750A03-3F35-60A3-82B8-2680356BB2B5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B79511-0CC1-69B8-A2A6-D7EE6B9ED9DF}"/>
              </a:ext>
            </a:extLst>
          </p:cNvPr>
          <p:cNvSpPr/>
          <p:nvPr/>
        </p:nvSpPr>
        <p:spPr>
          <a:xfrm>
            <a:off x="7880350" y="1431626"/>
            <a:ext cx="3895038" cy="49730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465D9CA-6AF4-898A-9760-B0241DD5C1DD}"/>
              </a:ext>
            </a:extLst>
          </p:cNvPr>
          <p:cNvCxnSpPr>
            <a:cxnSpLocks/>
          </p:cNvCxnSpPr>
          <p:nvPr/>
        </p:nvCxnSpPr>
        <p:spPr>
          <a:xfrm>
            <a:off x="8064500" y="1825625"/>
            <a:ext cx="36560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D9E6D2F-E9D3-18F8-C5A1-1DFB10FC62A8}"/>
              </a:ext>
            </a:extLst>
          </p:cNvPr>
          <p:cNvSpPr txBox="1"/>
          <p:nvPr/>
        </p:nvSpPr>
        <p:spPr>
          <a:xfrm>
            <a:off x="8009624" y="1517650"/>
            <a:ext cx="2628213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ey Roles and Descriptions</a:t>
            </a:r>
            <a:r>
              <a:rPr lang="en-US" sz="1400" b="1" baseline="30000" dirty="0"/>
              <a:t>1</a:t>
            </a:r>
            <a:endParaRPr lang="en-US" sz="1400" b="1" dirty="0"/>
          </a:p>
        </p:txBody>
      </p:sp>
      <p:graphicFrame>
        <p:nvGraphicFramePr>
          <p:cNvPr id="306" name="Chart 305">
            <a:extLst>
              <a:ext uri="{FF2B5EF4-FFF2-40B4-BE49-F238E27FC236}">
                <a16:creationId xmlns:a16="http://schemas.microsoft.com/office/drawing/2014/main" id="{A0255122-6CDB-3875-765D-2AB00F8CE98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622382"/>
              </p:ext>
            </p:extLst>
          </p:nvPr>
        </p:nvGraphicFramePr>
        <p:xfrm>
          <a:off x="184150" y="3309938"/>
          <a:ext cx="307022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10" name="Rectangle 109">
            <a:extLst>
              <a:ext uri="{FF2B5EF4-FFF2-40B4-BE49-F238E27FC236}">
                <a16:creationId xmlns:a16="http://schemas.microsoft.com/office/drawing/2014/main" id="{5A039BE4-B19B-238D-E78E-A2E7FFDD4F8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04863" y="6308725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B18463-4F07-4E35-931B-F88BCF56D023}" type="datetime'''''''''''''''''''''2''''02''''''''''''''''''0'''''''''">
              <a:rPr lang="en-US" altLang="en-US" sz="1400" smtClean="0">
                <a:solidFill>
                  <a:schemeClr val="tx1"/>
                </a:solidFill>
              </a:rPr>
              <a:pPr/>
              <a:t>202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FDB2750-3C49-C316-DBFE-30F8407DE2E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257425" y="6308725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9E13C9-FE70-4E58-9A0F-71E0B516ED5A}" type="datetime'''''''''''''''''''2''0''''''''''''''''''2''2'''''''''''''''''">
              <a:rPr lang="en-US" altLang="en-US" sz="1400" smtClean="0">
                <a:solidFill>
                  <a:schemeClr val="tx1"/>
                </a:solidFill>
              </a:rPr>
              <a:pPr/>
              <a:t>20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6151FCB7-6D82-3937-A3FD-154D041A31F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984250" y="388620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880793-A46F-47E1-9C3A-FC3C8F730A6D}" type="datetime'''''''''''''''''''''''1''''''''''''''''3''''''''5'''''''''''">
              <a:rPr lang="en-US" altLang="en-US" sz="1400" smtClean="0">
                <a:solidFill>
                  <a:schemeClr val="tx1"/>
                </a:solidFill>
              </a:rPr>
              <a:pPr/>
              <a:t>13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5E7FC4DF-C099-248F-1894-7F2CF7AE7B9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436813" y="369093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B07992-AED8-4F06-9007-2C54479399F8}" type="datetime'''''''''''''14''''''''''''''''''''''''''''''''''''''''''7'''">
              <a:rPr lang="en-US" altLang="en-US" sz="1400" smtClean="0">
                <a:solidFill>
                  <a:schemeClr val="tx1"/>
                </a:solidFill>
              </a:rPr>
              <a:pPr/>
              <a:t>14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DB0CEA52-5329-8D92-2952-435B0524E8AD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77825" y="317500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835E44-7827-49AE-9BA4-81E50BC53BD7}" type="datetime'''''''''''''''1''''''''''''''''7''''''''''''''''''''''9'''''">
              <a:rPr lang="en-US" altLang="en-US" sz="1400" smtClean="0">
                <a:solidFill>
                  <a:schemeClr val="tx1"/>
                </a:solidFill>
              </a:rPr>
              <a:pPr/>
              <a:t>17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A7F87DB9-AF87-FAF6-E9D9-CE7AB124CEBD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830388" y="32416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4A740C-B5ED-4B5D-93DB-FA16C3B42E8B}" type="datetime'''''1''''''''''''''''''''''''''''''''7''''5'''''''''''''">
              <a:rPr lang="en-US" altLang="en-US" sz="1400" smtClean="0">
                <a:solidFill>
                  <a:schemeClr val="tx1"/>
                </a:solidFill>
              </a:rPr>
              <a:pPr/>
              <a:t>17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62AC3C11-8C4E-D8DC-5A07-85CF2CD988A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81038" y="33813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CE2162-A23F-4E65-AD4B-290351832374}" type="datetime'''''''''''''''''''1''''''''''''6''''''''''''''''''''6'''">
              <a:rPr lang="en-US" altLang="en-US" sz="1400" smtClean="0">
                <a:solidFill>
                  <a:schemeClr val="tx1"/>
                </a:solidFill>
              </a:rPr>
              <a:pPr/>
              <a:t>16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E330267-26E5-BF4C-1880-FC343F9855E3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133600" y="352742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B2ABBD-6308-4C7F-8EB7-367CCA445ECC}" type="datetime'''''''''''''''''''1''''''''''5''7'''''''''''''''''''''''">
              <a:rPr lang="en-US" altLang="en-US" sz="1400" smtClean="0">
                <a:solidFill>
                  <a:schemeClr val="tx1"/>
                </a:solidFill>
              </a:rPr>
              <a:pPr/>
              <a:t>15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68D7F95A-11B9-F9D3-B82E-4CF9572CA51A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330325" y="47148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C6770B4-7D26-4F9C-AE91-30EA6C3D7B02}" type="datetime'''''''''''''''''''''''''''''''''''8''3'''''''''''''">
              <a:rPr lang="en-US" altLang="en-US" sz="1400" smtClean="0">
                <a:solidFill>
                  <a:schemeClr val="tx1"/>
                </a:solidFill>
              </a:rPr>
              <a:pPr/>
              <a:t>8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D94DC5AD-E4E9-0E23-9C6C-99F9E0D2DD80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738438" y="423862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46695F8-511F-4A70-B943-EC767D7291C5}" type="datetime'''''''1''1''''''''''''''''''''''''3'''''''''''''''''''''">
              <a:rPr lang="en-US" altLang="en-US" sz="1400" smtClean="0">
                <a:solidFill>
                  <a:schemeClr val="tx1"/>
                </a:solidFill>
              </a:rPr>
              <a:pPr/>
              <a:t>11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20E21A3-871E-A8C7-4960-44141FCFCEE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318125" y="1976438"/>
            <a:ext cx="214313" cy="160338"/>
          </a:xfrm>
          <a:prstGeom prst="rect">
            <a:avLst/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B2B42245-A4AE-D9D6-F975-2D00F004246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060575" y="1976438"/>
            <a:ext cx="214313" cy="160338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A3A31776-5553-F23C-C2F4-8E23713B0B0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110038" y="1976438"/>
            <a:ext cx="214313" cy="160338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1C4D6186-C78D-26BF-EC5E-9D8598ED786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551613" y="1976438"/>
            <a:ext cx="214313" cy="160338"/>
          </a:xfrm>
          <a:prstGeom prst="rect">
            <a:avLst/>
          </a:prstGeom>
          <a:solidFill>
            <a:srgbClr val="D6D7D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7EA2D17-E561-5CB2-CA0B-92D49BCE3FC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583238" y="1971675"/>
            <a:ext cx="8667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FCAB84B-F566-4BB0-8899-C22E232F3AA7}" type="datetime'''D''''''''at''''a'' En''''g''''''''''''i''n''''''''ee''''r'">
              <a:rPr lang="en-US" altLang="en-US" sz="1200" smtClean="0">
                <a:solidFill>
                  <a:schemeClr val="tx1"/>
                </a:solidFill>
              </a:rPr>
              <a:pPr/>
              <a:t>Data Engineer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0FA9610E-A457-1A9E-2DE1-1EB969E24A7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325688" y="1971675"/>
            <a:ext cx="16827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6758DAA-160A-4043-A142-EE78898AAF70}" type="datetime'Mac''''''''''h''''in''''''''e L''ea''rn''''ing E''n''gine''er'">
              <a:rPr lang="en-US" altLang="en-US" sz="1200" smtClean="0">
                <a:solidFill>
                  <a:schemeClr val="tx1"/>
                </a:solidFill>
              </a:rPr>
              <a:pPr/>
              <a:t>Machine Learning Engineer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0D5C78C-3EE2-FC5B-89CF-951B6AE26B4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375150" y="1971675"/>
            <a:ext cx="8413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62E2E11-AFD8-41A7-8D09-05BD67595500}" type="datetime'D''a''''''''''''''t''''a ''''Sc''''''i''''''enti''s''t'''''''">
              <a:rPr lang="en-US" altLang="en-US" sz="1200" smtClean="0">
                <a:solidFill>
                  <a:schemeClr val="tx1"/>
                </a:solidFill>
              </a:rPr>
              <a:pPr/>
              <a:t>Data Scientist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E24B816C-49EF-6299-6DAD-99B21D4F9D8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816725" y="1971675"/>
            <a:ext cx="7747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9B629F8-FC6B-4514-96C7-08BE1A708B2F}" type="datetime'''''''D''a''''t''''a'' ''''''''An''a''l''''y''''s''t'''''">
              <a:rPr lang="en-US" altLang="en-US" sz="1200" smtClean="0">
                <a:solidFill>
                  <a:schemeClr val="tx1"/>
                </a:solidFill>
              </a:rPr>
              <a:pPr/>
              <a:t>Data Analyst</a:t>
            </a:fld>
            <a:endParaRPr lang="en-US" sz="1200">
              <a:solidFill>
                <a:schemeClr val="tx1"/>
              </a:solidFill>
            </a:endParaRPr>
          </a:p>
        </p:txBody>
      </p:sp>
      <p:graphicFrame>
        <p:nvGraphicFramePr>
          <p:cNvPr id="305" name="Chart 304">
            <a:extLst>
              <a:ext uri="{FF2B5EF4-FFF2-40B4-BE49-F238E27FC236}">
                <a16:creationId xmlns:a16="http://schemas.microsoft.com/office/drawing/2014/main" id="{80C14AC5-F387-33EB-3175-A3D40E5BE116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7710050"/>
              </p:ext>
            </p:extLst>
          </p:nvPr>
        </p:nvGraphicFramePr>
        <p:xfrm>
          <a:off x="4210050" y="3309938"/>
          <a:ext cx="311785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35" name="Rectangle 134">
            <a:extLst>
              <a:ext uri="{FF2B5EF4-FFF2-40B4-BE49-F238E27FC236}">
                <a16:creationId xmlns:a16="http://schemas.microsoft.com/office/drawing/2014/main" id="{5E93CC41-E495-87CD-3C93-DDB71C03B18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4841875" y="6308725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909030-CC91-4B0F-9F7A-172C219D9B87}" type="datetime'''''''''''''''20''''''''''''''''''''''''''''''''20'''''''">
              <a:rPr lang="en-US" altLang="en-US" sz="1400" smtClean="0">
                <a:solidFill>
                  <a:schemeClr val="tx1"/>
                </a:solidFill>
              </a:rPr>
              <a:pPr/>
              <a:t>202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98725C-EFDC-436F-1E1C-320907BE175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318250" y="6308725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08EB25-0DA9-4376-9A4F-910D75D85846}" type="datetime'2''''''''''0''''''''''''''''''2''''''''2'''''''''''''''''">
              <a:rPr lang="en-US" altLang="en-US" sz="1400" smtClean="0">
                <a:solidFill>
                  <a:schemeClr val="tx1"/>
                </a:solidFill>
              </a:rPr>
              <a:pPr/>
              <a:t>20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A80E509F-B0A2-1F81-6911-F1BCE8869746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6237288" y="486092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6E230A-5545-4E67-8E9B-4D8F18E4A00B}" type="datetime'''''''''''''''''''''''''''''''''''''7''''''''''''4'''">
              <a:rPr lang="en-US" altLang="en-US" sz="1400" smtClean="0">
                <a:solidFill>
                  <a:schemeClr val="tx1"/>
                </a:solidFill>
              </a:rPr>
              <a:pPr/>
              <a:t>7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102536FE-B144-B7B0-D718-FC26165F5775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452938" y="53244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8AA79F-5C1E-4E79-9127-B974AD7D0270}" type="datetime'''''4''4''''''''''''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6842D33F-C2D4-CD82-F342-ACC46329DD58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760913" y="513873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1D230A-1FAB-422B-860C-E5824D7F59C3}" type="datetime'''''''5''''''''6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3A636C8B-C469-BA7F-3A2C-173D1B4FDB1F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067300" y="49053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6E6234F-8D2C-4F32-86BE-9879A9EE09DD}" type="datetime'''''''''''''''''''''''7''''''''1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972F1B68-C3DF-044D-AFB7-437EAAA59327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375275" y="574992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2EAB5B-76CA-45E5-84C3-AA4EFD35BE10}" type="datetime'''''''''''''''''''''1''''''''''''''''8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6D544A9E-03C2-E76C-1129-C92B8426B500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929313" y="469741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99DC5A-652D-42B9-8FEB-5F4A2DFB4122}" type="datetime'''8''''''''''''''''4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5910B48-6B5D-1B95-4BF1-1B0CA1D7D1A6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6543675" y="484663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05FC9EB-F431-446C-B182-59B95FD03AFD}" type="datetime'''''''''''''''''''''''''''7''''''''''''4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4D6FEB52-5DA0-921C-1A8E-D007B3AC0654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6851650" y="50593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3EE7604-E131-4E0F-B32D-954209C3C602}" type="datetime'''''''''''''6''''''''''1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1</a:t>
            </a:fld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B288B7D9-2C37-F491-5D2D-F3EFC36A5055}"/>
              </a:ext>
            </a:extLst>
          </p:cNvPr>
          <p:cNvCxnSpPr>
            <a:cxnSpLocks/>
          </p:cNvCxnSpPr>
          <p:nvPr/>
        </p:nvCxnSpPr>
        <p:spPr>
          <a:xfrm>
            <a:off x="276912" y="1825625"/>
            <a:ext cx="73748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DE8F6BF3-C5C8-C36C-2FA8-567C946F4BA1}"/>
              </a:ext>
            </a:extLst>
          </p:cNvPr>
          <p:cNvSpPr txBox="1"/>
          <p:nvPr/>
        </p:nvSpPr>
        <p:spPr>
          <a:xfrm>
            <a:off x="276911" y="1517650"/>
            <a:ext cx="7374837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On and offshore data and analytics salaries, </a:t>
            </a:r>
            <a:r>
              <a:rPr lang="en-US" sz="1400" dirty="0"/>
              <a:t>by job title, 2020-2022, US$000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E8986118-981E-C2C9-57CA-FC64899A25ED}"/>
              </a:ext>
            </a:extLst>
          </p:cNvPr>
          <p:cNvSpPr txBox="1"/>
          <p:nvPr/>
        </p:nvSpPr>
        <p:spPr>
          <a:xfrm>
            <a:off x="8053043" y="1846284"/>
            <a:ext cx="3656013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/>
              <a:t>Data Analyst:</a:t>
            </a:r>
            <a:r>
              <a:rPr lang="en-US" sz="1200" dirty="0"/>
              <a:t> Collecting, cleaning, and analyzing data to address specific business questions, with the results typically presented in a report or visualization dashboard</a:t>
            </a:r>
          </a:p>
          <a:p>
            <a:pPr>
              <a:spcAft>
                <a:spcPts val="600"/>
              </a:spcAft>
            </a:pPr>
            <a:r>
              <a:rPr lang="en-US" sz="1200" b="1" dirty="0"/>
              <a:t>Data Engineer:</a:t>
            </a:r>
            <a:r>
              <a:rPr lang="en-US" sz="1200" dirty="0"/>
              <a:t> Develops , constructs, tests and maintains architectures such as data bases and large-scale processing systems</a:t>
            </a:r>
          </a:p>
          <a:p>
            <a:pPr>
              <a:spcAft>
                <a:spcPts val="600"/>
              </a:spcAft>
            </a:pPr>
            <a:r>
              <a:rPr lang="en-US" sz="1200" b="1" dirty="0"/>
              <a:t>Data Scientist: </a:t>
            </a:r>
            <a:r>
              <a:rPr lang="en-US" sz="1200" dirty="0"/>
              <a:t>Performs descriptive statistics and analysis to develop insights, build models and solve a business need</a:t>
            </a:r>
          </a:p>
          <a:p>
            <a:pPr>
              <a:spcAft>
                <a:spcPts val="600"/>
              </a:spcAft>
            </a:pPr>
            <a:r>
              <a:rPr lang="en-US" sz="1200" b="1" dirty="0"/>
              <a:t>Machine Learning Engineer: </a:t>
            </a:r>
            <a:r>
              <a:rPr lang="en-US" sz="1200" dirty="0"/>
              <a:t>Writing code to build software applications that deploy and maintain models and algorithms that allow computers to generate insights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F6726AC6-7AC8-CEDA-977A-F8BA87A28F21}"/>
              </a:ext>
            </a:extLst>
          </p:cNvPr>
          <p:cNvSpPr txBox="1"/>
          <p:nvPr/>
        </p:nvSpPr>
        <p:spPr>
          <a:xfrm>
            <a:off x="218439" y="6504584"/>
            <a:ext cx="36201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1. </a:t>
            </a:r>
            <a:r>
              <a:rPr lang="en-US" sz="1000" dirty="0"/>
              <a:t>DataCamp, Coursera </a:t>
            </a:r>
            <a:r>
              <a:rPr lang="en-US" sz="1000" b="1" dirty="0"/>
              <a:t>2. </a:t>
            </a:r>
            <a:r>
              <a:rPr lang="en-US" sz="1000" dirty="0"/>
              <a:t>USA</a:t>
            </a:r>
            <a:r>
              <a:rPr lang="en-US" sz="1000" b="1" dirty="0"/>
              <a:t> 3. </a:t>
            </a:r>
            <a:r>
              <a:rPr lang="en-US" sz="1000" b="1" dirty="0">
                <a:solidFill>
                  <a:srgbClr val="FF0000"/>
                </a:solidFill>
              </a:rPr>
              <a:t>Add in offshore locations</a:t>
            </a:r>
            <a:r>
              <a:rPr lang="en-US" sz="1000" b="1" dirty="0"/>
              <a:t> </a:t>
            </a:r>
            <a:r>
              <a:rPr lang="en-US" sz="1000" dirty="0"/>
              <a:t> 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799912D5-2EFF-BC60-8CCA-F4214179BF0D}"/>
              </a:ext>
            </a:extLst>
          </p:cNvPr>
          <p:cNvSpPr txBox="1"/>
          <p:nvPr/>
        </p:nvSpPr>
        <p:spPr>
          <a:xfrm>
            <a:off x="276912" y="2609056"/>
            <a:ext cx="818464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Onshore</a:t>
            </a:r>
            <a:endParaRPr lang="en-US" sz="1400" u="sng" dirty="0"/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DBCE5770-2A36-B900-4B3E-E8FDF5CA2189}"/>
              </a:ext>
            </a:extLst>
          </p:cNvPr>
          <p:cNvSpPr txBox="1"/>
          <p:nvPr/>
        </p:nvSpPr>
        <p:spPr>
          <a:xfrm>
            <a:off x="4324350" y="2609056"/>
            <a:ext cx="1898649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Offshore</a:t>
            </a:r>
            <a:endParaRPr lang="en-US" sz="1400" u="sng" dirty="0"/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1DA08B57-BA2A-D4C2-58CF-9E49A79C79CC}"/>
              </a:ext>
            </a:extLst>
          </p:cNvPr>
          <p:cNvSpPr txBox="1"/>
          <p:nvPr/>
        </p:nvSpPr>
        <p:spPr>
          <a:xfrm>
            <a:off x="3268663" y="3801270"/>
            <a:ext cx="647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CAGR</a:t>
            </a:r>
            <a:endParaRPr lang="en-US" sz="1400" u="sng" dirty="0"/>
          </a:p>
        </p:txBody>
      </p: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F3BC2112-15F4-C494-6A15-31F3B44D9993}"/>
              </a:ext>
            </a:extLst>
          </p:cNvPr>
          <p:cNvGrpSpPr/>
          <p:nvPr/>
        </p:nvGrpSpPr>
        <p:grpSpPr>
          <a:xfrm>
            <a:off x="3349624" y="5078254"/>
            <a:ext cx="431801" cy="246221"/>
            <a:chOff x="3349624" y="5078254"/>
            <a:chExt cx="431801" cy="246221"/>
          </a:xfrm>
        </p:grpSpPr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D946A5AB-CF02-F54B-939D-AE0F343F8940}"/>
                </a:ext>
              </a:extLst>
            </p:cNvPr>
            <p:cNvSpPr/>
            <p:nvPr/>
          </p:nvSpPr>
          <p:spPr>
            <a:xfrm>
              <a:off x="3349624" y="5078254"/>
              <a:ext cx="431801" cy="246221"/>
            </a:xfrm>
            <a:prstGeom prst="ellipse">
              <a:avLst/>
            </a:prstGeom>
            <a:solidFill>
              <a:srgbClr val="D6D7D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0B63FE24-F8C3-DD67-EBD7-F092B4544D17}"/>
                </a:ext>
              </a:extLst>
            </p:cNvPr>
            <p:cNvSpPr txBox="1"/>
            <p:nvPr/>
          </p:nvSpPr>
          <p:spPr>
            <a:xfrm>
              <a:off x="3349624" y="5085948"/>
              <a:ext cx="431801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17%</a:t>
              </a:r>
              <a:endParaRPr lang="en-US" sz="900" dirty="0"/>
            </a:p>
          </p:txBody>
        </p:sp>
      </p:grp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36CFFD23-9EEF-AB9D-5C24-480B0EC119AC}"/>
              </a:ext>
            </a:extLst>
          </p:cNvPr>
          <p:cNvGrpSpPr/>
          <p:nvPr/>
        </p:nvGrpSpPr>
        <p:grpSpPr>
          <a:xfrm>
            <a:off x="3340100" y="4760851"/>
            <a:ext cx="431801" cy="246221"/>
            <a:chOff x="3340100" y="4760851"/>
            <a:chExt cx="431801" cy="246221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B53801E3-1FF4-ECB0-B557-A97F5D695722}"/>
                </a:ext>
              </a:extLst>
            </p:cNvPr>
            <p:cNvSpPr/>
            <p:nvPr/>
          </p:nvSpPr>
          <p:spPr>
            <a:xfrm>
              <a:off x="3340100" y="4760851"/>
              <a:ext cx="431801" cy="246221"/>
            </a:xfrm>
            <a:prstGeom prst="ellipse">
              <a:avLst/>
            </a:prstGeom>
            <a:solidFill>
              <a:srgbClr val="C3CFE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CF46F4E4-1492-D46F-9FAC-67F74C5B5754}"/>
                </a:ext>
              </a:extLst>
            </p:cNvPr>
            <p:cNvSpPr txBox="1"/>
            <p:nvPr/>
          </p:nvSpPr>
          <p:spPr>
            <a:xfrm>
              <a:off x="3349624" y="4768545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4%</a:t>
              </a:r>
              <a:endParaRPr lang="en-US" sz="900" dirty="0"/>
            </a:p>
          </p:txBody>
        </p:sp>
      </p:grp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3857E3E9-C970-C809-4C08-8812FF43AB49}"/>
              </a:ext>
            </a:extLst>
          </p:cNvPr>
          <p:cNvGrpSpPr/>
          <p:nvPr/>
        </p:nvGrpSpPr>
        <p:grpSpPr>
          <a:xfrm>
            <a:off x="3340100" y="4468462"/>
            <a:ext cx="431801" cy="246221"/>
            <a:chOff x="3340100" y="4468462"/>
            <a:chExt cx="431801" cy="246221"/>
          </a:xfrm>
        </p:grpSpPr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08FE36BF-96B5-7FE8-1917-6FD8D63CFE7F}"/>
                </a:ext>
              </a:extLst>
            </p:cNvPr>
            <p:cNvSpPr/>
            <p:nvPr/>
          </p:nvSpPr>
          <p:spPr>
            <a:xfrm>
              <a:off x="3340100" y="4468462"/>
              <a:ext cx="431801" cy="246221"/>
            </a:xfrm>
            <a:prstGeom prst="ellipse">
              <a:avLst/>
            </a:prstGeom>
            <a:solidFill>
              <a:srgbClr val="6F8DB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54F0E296-9047-EB59-8846-7744D5D23C34}"/>
                </a:ext>
              </a:extLst>
            </p:cNvPr>
            <p:cNvSpPr txBox="1"/>
            <p:nvPr/>
          </p:nvSpPr>
          <p:spPr>
            <a:xfrm>
              <a:off x="3349624" y="447615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-3%</a:t>
              </a:r>
              <a:endParaRPr lang="en-US" sz="900" dirty="0"/>
            </a:p>
          </p:txBody>
        </p: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F98D1BEE-318E-5A0B-9647-89C20D7AAE28}"/>
              </a:ext>
            </a:extLst>
          </p:cNvPr>
          <p:cNvGrpSpPr/>
          <p:nvPr/>
        </p:nvGrpSpPr>
        <p:grpSpPr>
          <a:xfrm>
            <a:off x="3340100" y="4145412"/>
            <a:ext cx="431801" cy="246221"/>
            <a:chOff x="3340100" y="4145412"/>
            <a:chExt cx="431801" cy="246221"/>
          </a:xfrm>
        </p:grpSpPr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D7BEF650-C514-8BE0-5140-DC16484024B8}"/>
                </a:ext>
              </a:extLst>
            </p:cNvPr>
            <p:cNvSpPr/>
            <p:nvPr/>
          </p:nvSpPr>
          <p:spPr>
            <a:xfrm>
              <a:off x="3340100" y="4145412"/>
              <a:ext cx="431801" cy="246221"/>
            </a:xfrm>
            <a:prstGeom prst="ellipse">
              <a:avLst/>
            </a:prstGeom>
            <a:solidFill>
              <a:srgbClr val="364D6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36F51DFF-62FE-9912-B2CA-A8E650B72505}"/>
                </a:ext>
              </a:extLst>
            </p:cNvPr>
            <p:cNvSpPr txBox="1"/>
            <p:nvPr/>
          </p:nvSpPr>
          <p:spPr>
            <a:xfrm>
              <a:off x="3349624" y="415310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-1%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2D593ED2-706D-70A7-217A-A6DE93B57FB1}"/>
              </a:ext>
            </a:extLst>
          </p:cNvPr>
          <p:cNvSpPr txBox="1"/>
          <p:nvPr/>
        </p:nvSpPr>
        <p:spPr>
          <a:xfrm>
            <a:off x="7195344" y="3801270"/>
            <a:ext cx="647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CAGR</a:t>
            </a:r>
            <a:endParaRPr lang="en-US" sz="1400" u="sng" dirty="0"/>
          </a:p>
        </p:txBody>
      </p:sp>
      <p:grpSp>
        <p:nvGrpSpPr>
          <p:cNvPr id="326" name="Group 325">
            <a:extLst>
              <a:ext uri="{FF2B5EF4-FFF2-40B4-BE49-F238E27FC236}">
                <a16:creationId xmlns:a16="http://schemas.microsoft.com/office/drawing/2014/main" id="{CEC5DC52-253B-7658-B226-634D8789CD84}"/>
              </a:ext>
            </a:extLst>
          </p:cNvPr>
          <p:cNvGrpSpPr/>
          <p:nvPr/>
        </p:nvGrpSpPr>
        <p:grpSpPr>
          <a:xfrm>
            <a:off x="7276305" y="5078254"/>
            <a:ext cx="431801" cy="246221"/>
            <a:chOff x="3349624" y="5078254"/>
            <a:chExt cx="431801" cy="246221"/>
          </a:xfrm>
        </p:grpSpPr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854FC777-F1F6-3B31-D0BB-8728F2044F33}"/>
                </a:ext>
              </a:extLst>
            </p:cNvPr>
            <p:cNvSpPr/>
            <p:nvPr/>
          </p:nvSpPr>
          <p:spPr>
            <a:xfrm>
              <a:off x="3349624" y="5078254"/>
              <a:ext cx="431801" cy="246221"/>
            </a:xfrm>
            <a:prstGeom prst="ellipse">
              <a:avLst/>
            </a:prstGeom>
            <a:solidFill>
              <a:srgbClr val="D6D7D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3012AEFC-81ED-C562-DDA4-A3BB77B23966}"/>
                </a:ext>
              </a:extLst>
            </p:cNvPr>
            <p:cNvSpPr txBox="1"/>
            <p:nvPr/>
          </p:nvSpPr>
          <p:spPr>
            <a:xfrm>
              <a:off x="3349624" y="5085948"/>
              <a:ext cx="431801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86%</a:t>
              </a:r>
              <a:endParaRPr lang="en-US" sz="900" dirty="0"/>
            </a:p>
          </p:txBody>
        </p:sp>
      </p:grpSp>
      <p:grpSp>
        <p:nvGrpSpPr>
          <p:cNvPr id="329" name="Group 328">
            <a:extLst>
              <a:ext uri="{FF2B5EF4-FFF2-40B4-BE49-F238E27FC236}">
                <a16:creationId xmlns:a16="http://schemas.microsoft.com/office/drawing/2014/main" id="{B9AC21AF-7F6C-BDAB-4F55-93818B20A4BB}"/>
              </a:ext>
            </a:extLst>
          </p:cNvPr>
          <p:cNvGrpSpPr/>
          <p:nvPr/>
        </p:nvGrpSpPr>
        <p:grpSpPr>
          <a:xfrm>
            <a:off x="7266781" y="4760851"/>
            <a:ext cx="431801" cy="246221"/>
            <a:chOff x="3340100" y="4760851"/>
            <a:chExt cx="431801" cy="246221"/>
          </a:xfrm>
        </p:grpSpPr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633FCAD9-FE49-169E-E856-F8740EC961B7}"/>
                </a:ext>
              </a:extLst>
            </p:cNvPr>
            <p:cNvSpPr/>
            <p:nvPr/>
          </p:nvSpPr>
          <p:spPr>
            <a:xfrm>
              <a:off x="3340100" y="4760851"/>
              <a:ext cx="431801" cy="246221"/>
            </a:xfrm>
            <a:prstGeom prst="ellipse">
              <a:avLst/>
            </a:prstGeom>
            <a:solidFill>
              <a:srgbClr val="C3CFE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6AF146C4-69A1-97E6-EC10-95617DC0763C}"/>
                </a:ext>
              </a:extLst>
            </p:cNvPr>
            <p:cNvSpPr txBox="1"/>
            <p:nvPr/>
          </p:nvSpPr>
          <p:spPr>
            <a:xfrm>
              <a:off x="3349624" y="4768545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3%</a:t>
              </a:r>
              <a:endParaRPr lang="en-US" sz="900" dirty="0"/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63211C17-9193-6612-19BA-E0686892A67A}"/>
              </a:ext>
            </a:extLst>
          </p:cNvPr>
          <p:cNvGrpSpPr/>
          <p:nvPr/>
        </p:nvGrpSpPr>
        <p:grpSpPr>
          <a:xfrm>
            <a:off x="7266781" y="4468462"/>
            <a:ext cx="431801" cy="246221"/>
            <a:chOff x="3340100" y="4468462"/>
            <a:chExt cx="431801" cy="246221"/>
          </a:xfrm>
        </p:grpSpPr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07359006-22ED-1DDD-4586-A6DCAB710D31}"/>
                </a:ext>
              </a:extLst>
            </p:cNvPr>
            <p:cNvSpPr/>
            <p:nvPr/>
          </p:nvSpPr>
          <p:spPr>
            <a:xfrm>
              <a:off x="3340100" y="4468462"/>
              <a:ext cx="431801" cy="246221"/>
            </a:xfrm>
            <a:prstGeom prst="ellipse">
              <a:avLst/>
            </a:prstGeom>
            <a:solidFill>
              <a:srgbClr val="6F8DB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E7B30CAE-BD59-F4E7-FEE8-E16FB7833B6C}"/>
                </a:ext>
              </a:extLst>
            </p:cNvPr>
            <p:cNvSpPr txBox="1"/>
            <p:nvPr/>
          </p:nvSpPr>
          <p:spPr>
            <a:xfrm>
              <a:off x="3349624" y="447615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15%</a:t>
              </a:r>
              <a:endParaRPr lang="en-US" sz="900" dirty="0"/>
            </a:p>
          </p:txBody>
        </p:sp>
      </p:grp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B4CEFFD6-CFA1-8AFB-9BBC-9DA251436686}"/>
              </a:ext>
            </a:extLst>
          </p:cNvPr>
          <p:cNvGrpSpPr/>
          <p:nvPr/>
        </p:nvGrpSpPr>
        <p:grpSpPr>
          <a:xfrm>
            <a:off x="7266781" y="4145412"/>
            <a:ext cx="431801" cy="246221"/>
            <a:chOff x="3340100" y="4145412"/>
            <a:chExt cx="431801" cy="246221"/>
          </a:xfrm>
        </p:grpSpPr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22FD2032-713D-25E9-A5C7-ADBBA6AAD805}"/>
                </a:ext>
              </a:extLst>
            </p:cNvPr>
            <p:cNvSpPr/>
            <p:nvPr/>
          </p:nvSpPr>
          <p:spPr>
            <a:xfrm>
              <a:off x="3340100" y="4145412"/>
              <a:ext cx="431801" cy="246221"/>
            </a:xfrm>
            <a:prstGeom prst="ellipse">
              <a:avLst/>
            </a:prstGeom>
            <a:solidFill>
              <a:srgbClr val="364D6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5FC2C34C-A3F2-C201-E21B-8FA143C6E11A}"/>
                </a:ext>
              </a:extLst>
            </p:cNvPr>
            <p:cNvSpPr txBox="1"/>
            <p:nvPr/>
          </p:nvSpPr>
          <p:spPr>
            <a:xfrm>
              <a:off x="3349624" y="415310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37%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341" name="TextBox 340">
            <a:extLst>
              <a:ext uri="{FF2B5EF4-FFF2-40B4-BE49-F238E27FC236}">
                <a16:creationId xmlns:a16="http://schemas.microsoft.com/office/drawing/2014/main" id="{97A2A409-832E-AC23-4BB7-7B21F4ADE6A1}"/>
              </a:ext>
            </a:extLst>
          </p:cNvPr>
          <p:cNvSpPr txBox="1"/>
          <p:nvPr/>
        </p:nvSpPr>
        <p:spPr>
          <a:xfrm>
            <a:off x="8009624" y="4745236"/>
            <a:ext cx="26282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Takeaways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35E21425-C605-007C-7227-3BEE64EFF7C1}"/>
              </a:ext>
            </a:extLst>
          </p:cNvPr>
          <p:cNvSpPr txBox="1"/>
          <p:nvPr/>
        </p:nvSpPr>
        <p:spPr>
          <a:xfrm>
            <a:off x="8053043" y="5059363"/>
            <a:ext cx="366747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ough similar sounding, the key  roles in the data ecosystem have specific responsibilities that must be considered before hiring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 Onshore positions typically pay twice as much as offshore roles, though offshore salaries have risen by 37% annually over the last two years</a:t>
            </a:r>
          </a:p>
        </p:txBody>
      </p:sp>
    </p:spTree>
    <p:extLst>
      <p:ext uri="{BB962C8B-B14F-4D97-AF65-F5344CB8AC3E}">
        <p14:creationId xmlns:p14="http://schemas.microsoft.com/office/powerpoint/2010/main" val="1548672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6E21C-409E-3D6D-16EF-2DAE514B78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A42FAB-65BD-F237-2CA8-B2B9F7D8BD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2155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04" imgH="405" progId="TCLayout.ActiveDocument.1">
                  <p:embed/>
                </p:oleObj>
              </mc:Choice>
              <mc:Fallback>
                <p:oleObj name="think-cell Slide" r:id="rId29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A42FAB-65BD-F237-2CA8-B2B9F7D8BD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DCE7A56-0655-0F1C-53C0-9A6BBE69D280}"/>
              </a:ext>
            </a:extLst>
          </p:cNvPr>
          <p:cNvCxnSpPr>
            <a:cxnSpLocks/>
          </p:cNvCxnSpPr>
          <p:nvPr/>
        </p:nvCxnSpPr>
        <p:spPr>
          <a:xfrm>
            <a:off x="692150" y="5970807"/>
            <a:ext cx="67071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DDC413-E254-02EE-525D-EC7AB0AEB4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12026902" cy="318932"/>
          </a:xfrm>
        </p:spPr>
        <p:txBody>
          <a:bodyPr/>
          <a:lstStyle/>
          <a:p>
            <a:r>
              <a:rPr lang="en-US" dirty="0"/>
              <a:t>DSE5002 PROJECT 1 | RECOMMEND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72E4D7E-28B6-44C2-B738-3BC0F92BE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99" y="453306"/>
            <a:ext cx="11642268" cy="705690"/>
          </a:xfrm>
        </p:spPr>
        <p:txBody>
          <a:bodyPr vert="horz"/>
          <a:lstStyle/>
          <a:p>
            <a:r>
              <a:rPr lang="en-US" dirty="0"/>
              <a:t>This report recommends building the internal analytics unit using two US based FTE, a mid-level Data Engineer and a Sr. Level Data Scientis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15DC22D-B70E-0FE6-10D3-47F75D6FCED1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77717E-AA49-652E-F31B-D42CC476288D}"/>
              </a:ext>
            </a:extLst>
          </p:cNvPr>
          <p:cNvSpPr/>
          <p:nvPr/>
        </p:nvSpPr>
        <p:spPr>
          <a:xfrm>
            <a:off x="7880350" y="1034677"/>
            <a:ext cx="3895038" cy="5130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BF3B-3099-6D25-8D6F-C16E31D1279A}"/>
              </a:ext>
            </a:extLst>
          </p:cNvPr>
          <p:cNvCxnSpPr>
            <a:cxnSpLocks/>
          </p:cNvCxnSpPr>
          <p:nvPr/>
        </p:nvCxnSpPr>
        <p:spPr>
          <a:xfrm>
            <a:off x="8064500" y="1576695"/>
            <a:ext cx="34702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B3BB85F-304D-048F-FEFE-E20E30114A56}"/>
              </a:ext>
            </a:extLst>
          </p:cNvPr>
          <p:cNvSpPr txBox="1"/>
          <p:nvPr/>
        </p:nvSpPr>
        <p:spPr>
          <a:xfrm>
            <a:off x="8009625" y="1268918"/>
            <a:ext cx="12953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Rationale</a:t>
            </a:r>
          </a:p>
        </p:txBody>
      </p:sp>
      <p:graphicFrame>
        <p:nvGraphicFramePr>
          <p:cNvPr id="307" name="Chart 306">
            <a:extLst>
              <a:ext uri="{FF2B5EF4-FFF2-40B4-BE49-F238E27FC236}">
                <a16:creationId xmlns:a16="http://schemas.microsoft.com/office/drawing/2014/main" id="{8C021D62-A459-F4FB-0F2D-1F8E758E957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246037"/>
              </p:ext>
            </p:extLst>
          </p:nvPr>
        </p:nvGraphicFramePr>
        <p:xfrm>
          <a:off x="692150" y="2336800"/>
          <a:ext cx="32924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2A23C7D-0CDB-FA58-13AE-28DE04A2710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058863" y="5335588"/>
            <a:ext cx="2143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0BBBE66-4A96-41E8-B969-7E9304B355AD}" type="datetime'''''''''''''E''''N''''''''''''''''''''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N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4BC18E6-D651-E7D3-B3AF-8CAE29F825E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43088" y="5335588"/>
            <a:ext cx="209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BF4F86-8C10-4EAC-95EC-999084B26AD9}" type="datetime'''''''M''I''''''''''''''''''''''''''''''''''''''''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I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1993C4-37D3-EF29-19C8-294E863B0EC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638425" y="5335588"/>
            <a:ext cx="180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0085FA-7D05-4D07-A023-234F757FD226}" type="datetime'''''''S''''''''''''''''''''''''''''''''''''''''''''''''E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E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BFBD43-C408-993B-19E6-CDD90DC67D4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416300" y="5335588"/>
            <a:ext cx="192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45F969-C7E1-4375-A2B0-52E90061A953}" type="datetime'''''''''''''''''E''''''''''''''''''''''''''''''''X''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X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85DC4E3E-648D-545C-D43E-41B041DD7BF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927225" y="331311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91816C-31EC-4F42-9539-DE8156465DBD}" type="datetime'''''''''''1''''''''''5''''''''''''''0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8C12863B-19F6-55C1-72AA-6CDD74424C69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709863" y="35464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9442D8B-187A-4685-8440-0EE5F29518BF}" type="datetime'''1''''''''''''''''''3''''''''''''''''''''''''''''''''''0'''''">
              <a:rPr lang="en-US" altLang="en-US" sz="1400" smtClean="0">
                <a:solidFill>
                  <a:schemeClr val="tx1"/>
                </a:solidFill>
              </a:rPr>
              <a:pPr/>
              <a:t>13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F9ACB5D-4BAE-ABB0-0D06-B04D1B58832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647825" y="357028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CB1EB4-378E-45B2-BCBB-8C877F6F9566}" type="datetime'''''''''1''2''''''''''''''''''''8'''''''''''''''''''">
              <a:rPr lang="en-US" altLang="en-US" sz="1400" smtClean="0">
                <a:solidFill>
                  <a:schemeClr val="tx1"/>
                </a:solidFill>
              </a:rPr>
              <a:pPr/>
              <a:t>12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12E4AE2E-5CED-8A9F-C4D9-2009430C7D0A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428875" y="317976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3311FF-63C4-47BF-9E0D-9FB6E28B9D2C}" type="datetime'1''''6''''''''''''''''''''''''2'''''''''">
              <a:rPr lang="en-US" altLang="en-US" sz="1400" smtClean="0">
                <a:solidFill>
                  <a:schemeClr val="tx1"/>
                </a:solidFill>
              </a:rPr>
              <a:pPr/>
              <a:t>162</a:t>
            </a:fld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41F5C6BC-5A0A-8F53-2164-77C85F9971C4}"/>
              </a:ext>
            </a:extLst>
          </p:cNvPr>
          <p:cNvCxnSpPr>
            <a:cxnSpLocks/>
          </p:cNvCxnSpPr>
          <p:nvPr/>
        </p:nvCxnSpPr>
        <p:spPr>
          <a:xfrm>
            <a:off x="353906" y="1563995"/>
            <a:ext cx="73748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90F351F7-0C3E-D777-3A23-61B0A5979DCA}"/>
              </a:ext>
            </a:extLst>
          </p:cNvPr>
          <p:cNvSpPr txBox="1"/>
          <p:nvPr/>
        </p:nvSpPr>
        <p:spPr>
          <a:xfrm>
            <a:off x="313873" y="1206621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US Data Scientist and Engineer salaries,</a:t>
            </a:r>
            <a:r>
              <a:rPr lang="en-US" sz="1400" dirty="0"/>
              <a:t> by experience level</a:t>
            </a:r>
            <a:r>
              <a:rPr lang="en-US" sz="1400" baseline="30000" dirty="0"/>
              <a:t>1</a:t>
            </a:r>
            <a:r>
              <a:rPr lang="en-US" sz="1400" dirty="0"/>
              <a:t>, 2022,</a:t>
            </a:r>
            <a:r>
              <a:rPr lang="en-US" sz="1400" b="1" dirty="0"/>
              <a:t> </a:t>
            </a:r>
            <a:r>
              <a:rPr lang="en-US" sz="1400" dirty="0"/>
              <a:t>US$000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9AA43FF9-3D26-A33A-ABF9-A3C53603871A}"/>
              </a:ext>
            </a:extLst>
          </p:cNvPr>
          <p:cNvSpPr txBox="1"/>
          <p:nvPr/>
        </p:nvSpPr>
        <p:spPr>
          <a:xfrm>
            <a:off x="8064500" y="1678130"/>
            <a:ext cx="347027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ocal leadership, even if remote, minimizes communication errors due to cultural and time zone differences as the function is being develop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s a result, this report recommends selecting a Sr. Expert level data scientist with experience in small to medium sized companies as the foundation hi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o work alongside this data scientist, we also recommend hiring a mid-level data engineer with a similar sized company experience to ensure the company’s data structure is amenable to analyt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n 2022, US based Sr. Expert Data Scientists were paid $130-165k, with mid-level data engineers receiving $125-130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ll in, this company can expect to pay $250-300k</a:t>
            </a:r>
            <a:r>
              <a:rPr lang="en-US" sz="1200" baseline="30000" dirty="0"/>
              <a:t>2</a:t>
            </a:r>
            <a:r>
              <a:rPr lang="en-US" sz="1200" dirty="0"/>
              <a:t> to build out the fun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E78725-9243-CD9F-E558-E08F50E468B8}"/>
              </a:ext>
            </a:extLst>
          </p:cNvPr>
          <p:cNvSpPr txBox="1"/>
          <p:nvPr/>
        </p:nvSpPr>
        <p:spPr>
          <a:xfrm>
            <a:off x="276912" y="1568450"/>
            <a:ext cx="12953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Data Scientist</a:t>
            </a:r>
            <a:endParaRPr lang="en-US" sz="1400" u="sng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63383E-1595-1C38-029F-0899D1A63C91}"/>
              </a:ext>
            </a:extLst>
          </p:cNvPr>
          <p:cNvSpPr txBox="1"/>
          <p:nvPr/>
        </p:nvSpPr>
        <p:spPr>
          <a:xfrm>
            <a:off x="4324350" y="1568450"/>
            <a:ext cx="1898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Data Engineer</a:t>
            </a:r>
            <a:endParaRPr lang="en-US" sz="1400" u="sng" dirty="0"/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09AC38CE-4A4D-33DB-545B-2B752C1174E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235700" y="127158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1B66A17B-F6DB-8CAF-A849-95D3B7A585A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961188" y="1271588"/>
            <a:ext cx="214313" cy="160338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0BC995C-74C2-2CE9-EFD5-3BB17D745C1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500813" y="1266825"/>
            <a:ext cx="3587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DD8159A-9283-4A25-98C4-840794FF2056}" type="datetime'''''''''''M''''''''''''''''''''''e''''''''''a''n'''">
              <a:rPr lang="en-US" altLang="en-US" sz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Mean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B8955D64-985D-1178-722E-9B8DDDA6525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226300" y="1266825"/>
            <a:ext cx="4730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378BCAC-79EE-4B1A-875E-F196A7D1E346}" type="datetime'''''''''M''''ed''i''''''''''''''''a''''''''n'''''''''">
              <a:rPr lang="en-US" altLang="en-US" sz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Median</a:t>
            </a:fld>
            <a:endParaRPr lang="en-US" sz="1200">
              <a:solidFill>
                <a:schemeClr val="tx1"/>
              </a:solidFill>
            </a:endParaRPr>
          </a:p>
        </p:txBody>
      </p:sp>
      <p:graphicFrame>
        <p:nvGraphicFramePr>
          <p:cNvPr id="308" name="Chart 307">
            <a:extLst>
              <a:ext uri="{FF2B5EF4-FFF2-40B4-BE49-F238E27FC236}">
                <a16:creationId xmlns:a16="http://schemas.microsoft.com/office/drawing/2014/main" id="{C11FE450-6A14-AE2D-8F54-1D9947DE1AC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03282857"/>
              </p:ext>
            </p:extLst>
          </p:nvPr>
        </p:nvGraphicFramePr>
        <p:xfrm>
          <a:off x="4241800" y="2336800"/>
          <a:ext cx="32924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15" name="Rectangle 214">
            <a:extLst>
              <a:ext uri="{FF2B5EF4-FFF2-40B4-BE49-F238E27FC236}">
                <a16:creationId xmlns:a16="http://schemas.microsoft.com/office/drawing/2014/main" id="{44AAD855-64D2-BBC4-E380-09468DF114A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608513" y="5335588"/>
            <a:ext cx="2143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06DE28-744E-46C7-8274-29659E3CA59A}" type="datetime'''E''''''''''''''''''''''''''''N'''''''''">
              <a:rPr lang="en-US" altLang="en-US" sz="1400" smtClean="0">
                <a:solidFill>
                  <a:schemeClr val="tx1"/>
                </a:solidFill>
              </a:rPr>
              <a:pPr/>
              <a:t>EN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329602AE-BA31-0589-0B13-EB2E749005D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392738" y="5335588"/>
            <a:ext cx="209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6E63FB-0FEC-4E06-A0B2-E18C64680F17}" type="datetime'''''''''''''''''M''''''''''''''I'''''''''''">
              <a:rPr lang="en-US" altLang="en-US" sz="1400" smtClean="0">
                <a:solidFill>
                  <a:schemeClr val="tx1"/>
                </a:solidFill>
              </a:rPr>
              <a:pPr/>
              <a:t>MI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839A040B-6C81-3033-BA2C-5D3F7B4CD57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188075" y="5335588"/>
            <a:ext cx="180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F1121C9-0F81-4CEC-8FBC-AE76B2E80B1D}" type="datetime'''''''''''''''''''''''''''''''''''''SE'''''''''''''">
              <a:rPr lang="en-US" altLang="en-US" sz="1400" smtClean="0">
                <a:solidFill>
                  <a:schemeClr val="tx1"/>
                </a:solidFill>
              </a:rPr>
              <a:pPr/>
              <a:t>SE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4EB9E3EB-934C-9363-6E5C-CA3E1066024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965950" y="5335588"/>
            <a:ext cx="192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DAE344-1964-4BE1-B018-6B5ECB085A9B}" type="datetime'''''''''''''''''''''''''E''''''''''''X'''''''''''''''">
              <a:rPr lang="en-US" altLang="en-US" sz="1400" smtClean="0">
                <a:solidFill>
                  <a:schemeClr val="tx1"/>
                </a:solidFill>
              </a:rPr>
              <a:pPr/>
              <a:t>EX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29994ECA-9989-92CC-6738-9966D9B73673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459288" y="398303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027FCA-4D35-4B47-B249-06E28CB09C46}" type="datetime'''''''''''''93''''''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1FA38AB0-D6DC-6E78-2DF9-416A8B65EB66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761163" y="220186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83EEEB-42B3-419E-AAEE-6B8F26E48D06}" type="datetime'''''''''2''''''''''''''''''''''''''4''''''''''''''''''''''6'''">
              <a:rPr lang="en-US" altLang="en-US" sz="1400" smtClean="0">
                <a:solidFill>
                  <a:schemeClr val="tx1"/>
                </a:solidFill>
              </a:rPr>
              <a:pPr/>
              <a:t>24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2D0D9DEB-4D12-3312-68CC-41A2EBEB8A4A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197475" y="356076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74950E-008A-486F-9B29-FBA956FB8B34}" type="datetime'''''''''''''''1''''''''''''''''''''''''''''2''''''''''''''9'''">
              <a:rPr lang="en-US" altLang="en-US" sz="1400" smtClean="0">
                <a:solidFill>
                  <a:schemeClr val="tx1"/>
                </a:solidFill>
              </a:rPr>
              <a:pPr/>
              <a:t>12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8416E7CC-346C-5CAB-6257-58CBB78B50A6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978525" y="342423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00A5B5A-2F78-4555-987A-1E00783594F2}" type="datetime'''''''''''''''''''''''''''''1''''''''40'''''''''''">
              <a:rPr lang="en-US" altLang="en-US" sz="1400" smtClean="0">
                <a:solidFill>
                  <a:schemeClr val="tx1"/>
                </a:solidFill>
              </a:rPr>
              <a:pPr/>
              <a:t>14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E9C2A287-4DFA-238C-BC83-6C7205D07F7C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740275" y="398303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3A2CD3-45BF-4FF1-BAC5-354FE66999FB}" type="datetime'''''''''''''''''''''''''''''''''9''''''''3'''''''''">
              <a:rPr lang="en-US" altLang="en-US" sz="1400" smtClean="0">
                <a:solidFill>
                  <a:schemeClr val="tx1"/>
                </a:solidFill>
              </a:rPr>
              <a:pPr/>
              <a:t>9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AA6273B2-B43A-1E19-0CF8-F53249348294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7077075" y="239395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687DBA-BACB-4AFD-AF76-8C895BE87686}" type="datetime'''''''''''''''''''''2''''''''''''2''9'''''''''''''''">
              <a:rPr lang="en-US" altLang="en-US" sz="1400" smtClean="0">
                <a:solidFill>
                  <a:schemeClr val="tx1"/>
                </a:solidFill>
              </a:rPr>
              <a:pPr/>
              <a:t>22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7DF745A9-BA37-700C-051E-04AFB939AB2F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513388" y="36099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84B29E3-263E-4974-8735-43673EB3D35C}" type="datetime'''''''''''''''''''''''125'''''''''''''''''''''''''''''''''''">
              <a:rPr lang="en-US" altLang="en-US" sz="1400" smtClean="0">
                <a:solidFill>
                  <a:schemeClr val="tx1"/>
                </a:solidFill>
              </a:rPr>
              <a:pPr/>
              <a:t>12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A3DEB2EF-8E00-CEB5-69F7-C03224F6F0E7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6294438" y="34702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D32032-1928-4BA1-A418-FB3F923C7B13}" type="datetime'''''''''''1''''''''''''''''''3''''''''''''''''''''''''''6'">
              <a:rPr lang="en-US" altLang="en-US" sz="1400" smtClean="0">
                <a:solidFill>
                  <a:schemeClr val="tx1"/>
                </a:solidFill>
              </a:rPr>
              <a:pPr/>
              <a:t>13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6BD9EE72-EDA0-7D79-5CA5-F84C47AC60B8}"/>
              </a:ext>
            </a:extLst>
          </p:cNvPr>
          <p:cNvSpPr txBox="1"/>
          <p:nvPr/>
        </p:nvSpPr>
        <p:spPr>
          <a:xfrm>
            <a:off x="958400" y="4946650"/>
            <a:ext cx="415238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NA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51624273-C614-E637-4E17-BE26B4A0F2B8}"/>
              </a:ext>
            </a:extLst>
          </p:cNvPr>
          <p:cNvSpPr txBox="1"/>
          <p:nvPr/>
        </p:nvSpPr>
        <p:spPr>
          <a:xfrm>
            <a:off x="3304725" y="4946650"/>
            <a:ext cx="415238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NA</a:t>
            </a:r>
          </a:p>
        </p:txBody>
      </p: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6CEF88A4-ECCF-FD27-59E7-2B8D5E186310}"/>
              </a:ext>
            </a:extLst>
          </p:cNvPr>
          <p:cNvGrpSpPr/>
          <p:nvPr/>
        </p:nvGrpSpPr>
        <p:grpSpPr>
          <a:xfrm>
            <a:off x="3124199" y="5761106"/>
            <a:ext cx="2496345" cy="376962"/>
            <a:chOff x="2511769" y="5964306"/>
            <a:chExt cx="2685706" cy="376962"/>
          </a:xfrm>
          <a:solidFill>
            <a:schemeClr val="bg1"/>
          </a:solidFill>
        </p:grpSpPr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1E9AD74D-57A9-403F-6E44-00907B832309}"/>
                </a:ext>
              </a:extLst>
            </p:cNvPr>
            <p:cNvSpPr/>
            <p:nvPr/>
          </p:nvSpPr>
          <p:spPr>
            <a:xfrm>
              <a:off x="2511769" y="5964306"/>
              <a:ext cx="2685706" cy="3769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8A025C7C-E799-259D-EBE9-E5C82AD1CBD7}"/>
                </a:ext>
              </a:extLst>
            </p:cNvPr>
            <p:cNvSpPr txBox="1"/>
            <p:nvPr/>
          </p:nvSpPr>
          <p:spPr>
            <a:xfrm>
              <a:off x="3047207" y="6011775"/>
              <a:ext cx="1535112" cy="30777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Experience Level</a:t>
              </a:r>
              <a:endParaRPr lang="en-US" sz="1400" dirty="0"/>
            </a:p>
          </p:txBody>
        </p:sp>
      </p:grpSp>
      <p:pic>
        <p:nvPicPr>
          <p:cNvPr id="316" name="Graphic 315" descr="Badge New with solid fill">
            <a:extLst>
              <a:ext uri="{FF2B5EF4-FFF2-40B4-BE49-F238E27FC236}">
                <a16:creationId xmlns:a16="http://schemas.microsoft.com/office/drawing/2014/main" id="{C1BBAE09-B1E4-AEC8-FCBB-5107667CF75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663031" y="2920813"/>
            <a:ext cx="207963" cy="207963"/>
          </a:xfrm>
          <a:prstGeom prst="rect">
            <a:avLst/>
          </a:prstGeom>
        </p:spPr>
      </p:pic>
      <p:pic>
        <p:nvPicPr>
          <p:cNvPr id="317" name="Graphic 316" descr="Badge New with solid fill">
            <a:extLst>
              <a:ext uri="{FF2B5EF4-FFF2-40B4-BE49-F238E27FC236}">
                <a16:creationId xmlns:a16="http://schemas.microsoft.com/office/drawing/2014/main" id="{B8829D0C-D77A-7E37-7583-434D275B6075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415756" y="3338512"/>
            <a:ext cx="207963" cy="207963"/>
          </a:xfrm>
          <a:prstGeom prst="rect">
            <a:avLst/>
          </a:prstGeom>
        </p:spPr>
      </p:pic>
      <p:sp>
        <p:nvSpPr>
          <p:cNvPr id="318" name="TextBox 317">
            <a:extLst>
              <a:ext uri="{FF2B5EF4-FFF2-40B4-BE49-F238E27FC236}">
                <a16:creationId xmlns:a16="http://schemas.microsoft.com/office/drawing/2014/main" id="{BBAF7ABA-6F13-9B6B-F3EA-71D809B575BC}"/>
              </a:ext>
            </a:extLst>
          </p:cNvPr>
          <p:cNvSpPr txBox="1"/>
          <p:nvPr/>
        </p:nvSpPr>
        <p:spPr>
          <a:xfrm>
            <a:off x="276911" y="6480889"/>
            <a:ext cx="114984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1. </a:t>
            </a:r>
            <a:r>
              <a:rPr lang="en-US" sz="1000" dirty="0"/>
              <a:t>EN Entry level, Junior MI Mid-level, Intermediate SE Senior-level, Expert SE Executive Level / Director</a:t>
            </a:r>
            <a:r>
              <a:rPr lang="en-US" sz="1000" b="1" dirty="0"/>
              <a:t> 2. </a:t>
            </a:r>
            <a:r>
              <a:rPr lang="en-US" sz="1000" dirty="0"/>
              <a:t>e.g., an estimated 20% for overhead expenses (e.g., benefits, payroll taxes)  </a:t>
            </a:r>
          </a:p>
        </p:txBody>
      </p:sp>
    </p:spTree>
    <p:extLst>
      <p:ext uri="{BB962C8B-B14F-4D97-AF65-F5344CB8AC3E}">
        <p14:creationId xmlns:p14="http://schemas.microsoft.com/office/powerpoint/2010/main" val="16704143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98EAB6-F189-B662-8D8A-223048F92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CD3D686-72E8-84E6-EF04-AE8F8A7F3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484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04" imgH="405" progId="TCLayout.ActiveDocument.1">
                  <p:embed/>
                </p:oleObj>
              </mc:Choice>
              <mc:Fallback>
                <p:oleObj name="think-cell Slide" r:id="rId18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D3D686-72E8-84E6-EF04-AE8F8A7F3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C65046-AC7D-D54F-8564-14709AD53B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SE5002 PROJECT 1 | FUTURE TEA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C8C2E9-8DCB-1E07-1D58-D6A3D6FFE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ture team structu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4E74D3-A03A-B415-F22E-52EDE6BAA645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F13D1C-34AA-FE99-1002-A23F77CE4223}"/>
              </a:ext>
            </a:extLst>
          </p:cNvPr>
          <p:cNvSpPr/>
          <p:nvPr/>
        </p:nvSpPr>
        <p:spPr>
          <a:xfrm>
            <a:off x="7913690" y="914971"/>
            <a:ext cx="3906148" cy="47720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5934C45-FCB8-7B79-0BD4-3BDDB637EAA6}"/>
              </a:ext>
            </a:extLst>
          </p:cNvPr>
          <p:cNvCxnSpPr>
            <a:cxnSpLocks/>
          </p:cNvCxnSpPr>
          <p:nvPr/>
        </p:nvCxnSpPr>
        <p:spPr>
          <a:xfrm>
            <a:off x="8062913" y="1481414"/>
            <a:ext cx="35861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6AA513B-2B53-A4BB-C5FD-E65478520146}"/>
              </a:ext>
            </a:extLst>
          </p:cNvPr>
          <p:cNvSpPr txBox="1"/>
          <p:nvPr/>
        </p:nvSpPr>
        <p:spPr>
          <a:xfrm>
            <a:off x="8018425" y="1137644"/>
            <a:ext cx="12953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ey Takeaway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08E671-2668-15E3-E1C1-8E467A2C3AFB}"/>
              </a:ext>
            </a:extLst>
          </p:cNvPr>
          <p:cNvSpPr txBox="1"/>
          <p:nvPr/>
        </p:nvSpPr>
        <p:spPr>
          <a:xfrm>
            <a:off x="353908" y="1644023"/>
            <a:ext cx="8481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Job Title</a:t>
            </a:r>
            <a:endParaRPr lang="en-US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8BEA1D4-97F6-B92A-8022-D2700FD9973E}"/>
              </a:ext>
            </a:extLst>
          </p:cNvPr>
          <p:cNvSpPr txBox="1"/>
          <p:nvPr/>
        </p:nvSpPr>
        <p:spPr>
          <a:xfrm>
            <a:off x="6920653" y="1644023"/>
            <a:ext cx="6355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Spain</a:t>
            </a:r>
            <a:endParaRPr lang="en-US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3C70F8-C1BC-4F60-A486-B95FE6712F4F}"/>
              </a:ext>
            </a:extLst>
          </p:cNvPr>
          <p:cNvSpPr txBox="1"/>
          <p:nvPr/>
        </p:nvSpPr>
        <p:spPr>
          <a:xfrm>
            <a:off x="5354795" y="1644023"/>
            <a:ext cx="11667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Great Britain</a:t>
            </a:r>
            <a:endParaRPr lang="en-US" sz="1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EB9608-C259-0906-1E99-0BA25E285B01}"/>
              </a:ext>
            </a:extLst>
          </p:cNvPr>
          <p:cNvSpPr txBox="1"/>
          <p:nvPr/>
        </p:nvSpPr>
        <p:spPr>
          <a:xfrm>
            <a:off x="4220252" y="1644023"/>
            <a:ext cx="7354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France</a:t>
            </a:r>
            <a:endParaRPr lang="en-US" sz="1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641051-7194-BEB3-DB98-F4E85078D8AF}"/>
              </a:ext>
            </a:extLst>
          </p:cNvPr>
          <p:cNvSpPr txBox="1"/>
          <p:nvPr/>
        </p:nvSpPr>
        <p:spPr>
          <a:xfrm>
            <a:off x="2972997" y="1644023"/>
            <a:ext cx="848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anada</a:t>
            </a:r>
            <a:endParaRPr lang="en-US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BE390F9-E27E-D4E8-CE0A-804E2CCFBF7B}"/>
              </a:ext>
            </a:extLst>
          </p:cNvPr>
          <p:cNvSpPr txBox="1"/>
          <p:nvPr/>
        </p:nvSpPr>
        <p:spPr>
          <a:xfrm>
            <a:off x="298550" y="2397369"/>
            <a:ext cx="2317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ata Analys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9FA079-CA62-FC65-ABE4-4A889B567E6D}"/>
              </a:ext>
            </a:extLst>
          </p:cNvPr>
          <p:cNvCxnSpPr>
            <a:cxnSpLocks/>
          </p:cNvCxnSpPr>
          <p:nvPr/>
        </p:nvCxnSpPr>
        <p:spPr>
          <a:xfrm>
            <a:off x="353907" y="1975873"/>
            <a:ext cx="7285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125EFEE-40A1-6B79-FDAA-C0BEC1366AD7}"/>
              </a:ext>
            </a:extLst>
          </p:cNvPr>
          <p:cNvCxnSpPr>
            <a:cxnSpLocks/>
          </p:cNvCxnSpPr>
          <p:nvPr/>
        </p:nvCxnSpPr>
        <p:spPr>
          <a:xfrm>
            <a:off x="353907" y="3255796"/>
            <a:ext cx="7285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9AC662-F810-A3FA-58BC-7D55BEFD5675}"/>
              </a:ext>
            </a:extLst>
          </p:cNvPr>
          <p:cNvCxnSpPr>
            <a:cxnSpLocks/>
          </p:cNvCxnSpPr>
          <p:nvPr/>
        </p:nvCxnSpPr>
        <p:spPr>
          <a:xfrm>
            <a:off x="353907" y="4354579"/>
            <a:ext cx="7285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3A30F9F-8A4F-520A-5D56-32E379635F68}"/>
              </a:ext>
            </a:extLst>
          </p:cNvPr>
          <p:cNvSpPr txBox="1"/>
          <p:nvPr/>
        </p:nvSpPr>
        <p:spPr>
          <a:xfrm>
            <a:off x="298550" y="3442213"/>
            <a:ext cx="2317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ata Engine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8277918-5AAE-5800-31F8-811B2566AB2F}"/>
              </a:ext>
            </a:extLst>
          </p:cNvPr>
          <p:cNvSpPr txBox="1"/>
          <p:nvPr/>
        </p:nvSpPr>
        <p:spPr>
          <a:xfrm>
            <a:off x="353906" y="4810681"/>
            <a:ext cx="2317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Machine Learning Enginee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D312AE2-B2B2-370D-6429-BDC8CAC61830}"/>
              </a:ext>
            </a:extLst>
          </p:cNvPr>
          <p:cNvCxnSpPr>
            <a:cxnSpLocks/>
          </p:cNvCxnSpPr>
          <p:nvPr/>
        </p:nvCxnSpPr>
        <p:spPr>
          <a:xfrm>
            <a:off x="2972997" y="1463685"/>
            <a:ext cx="46660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F2F0815F-8B75-4024-87AA-87D356DCD57C}"/>
              </a:ext>
            </a:extLst>
          </p:cNvPr>
          <p:cNvSpPr txBox="1"/>
          <p:nvPr/>
        </p:nvSpPr>
        <p:spPr>
          <a:xfrm>
            <a:off x="2890838" y="1124943"/>
            <a:ext cx="47701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Average Salary by role for Potential Outsourcing Destinations</a:t>
            </a:r>
            <a:endParaRPr lang="en-US" sz="1400" dirty="0"/>
          </a:p>
        </p:txBody>
      </p:sp>
      <p:graphicFrame>
        <p:nvGraphicFramePr>
          <p:cNvPr id="174" name="Chart 173">
            <a:extLst>
              <a:ext uri="{FF2B5EF4-FFF2-40B4-BE49-F238E27FC236}">
                <a16:creationId xmlns:a16="http://schemas.microsoft.com/office/drawing/2014/main" id="{7795BAF4-DA4B-DFEF-F7DD-3117F30E9C0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046805"/>
              </p:ext>
            </p:extLst>
          </p:nvPr>
        </p:nvGraphicFramePr>
        <p:xfrm>
          <a:off x="2890838" y="2120900"/>
          <a:ext cx="4830762" cy="99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10" name="Rectangle 109">
            <a:extLst>
              <a:ext uri="{FF2B5EF4-FFF2-40B4-BE49-F238E27FC236}">
                <a16:creationId xmlns:a16="http://schemas.microsoft.com/office/drawing/2014/main" id="{C6205D91-524E-3994-4670-31D386899E4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670426" y="2933700"/>
            <a:ext cx="1047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bg1"/>
                </a:solidFill>
                <a:effectLst/>
              </a:rPr>
              <a:t>-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C74E797-A6FF-7E1D-F1D7-5EE3BE57517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6938964" y="27352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0007D7-35BC-4A4C-B00A-9EE5A1EA352F}" type="datetime'''''''''''''''''''''''''''''''38''''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38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AD8C0E2F-18C4-0ED1-E636-633028B0CDA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440113" y="2520950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AE3DEE-9AF7-4897-BC52-AF5F3DFDD21B}" type="datetime'''8''''''''''''''''''0''''''''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C53C585C-E30A-D577-1B61-6ECB7737E6A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773738" y="26717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02951F0-B0AD-43B4-83A2-57E91FD24C2A}" type="datetime'''''''''''5''''''''1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1</a:t>
            </a:fld>
            <a:endParaRPr lang="en-US" sz="1400">
              <a:solidFill>
                <a:schemeClr val="bg1"/>
              </a:solidFill>
            </a:endParaRPr>
          </a:p>
        </p:txBody>
      </p:sp>
      <p:graphicFrame>
        <p:nvGraphicFramePr>
          <p:cNvPr id="175" name="Chart 174">
            <a:extLst>
              <a:ext uri="{FF2B5EF4-FFF2-40B4-BE49-F238E27FC236}">
                <a16:creationId xmlns:a16="http://schemas.microsoft.com/office/drawing/2014/main" id="{AE5BCDE4-46D2-2B2A-2DBB-E782CA76FF0F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7704845"/>
              </p:ext>
            </p:extLst>
          </p:nvPr>
        </p:nvGraphicFramePr>
        <p:xfrm>
          <a:off x="2890838" y="3467100"/>
          <a:ext cx="4830762" cy="639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40" name="Rectangle 139">
            <a:extLst>
              <a:ext uri="{FF2B5EF4-FFF2-40B4-BE49-F238E27FC236}">
                <a16:creationId xmlns:a16="http://schemas.microsoft.com/office/drawing/2014/main" id="{0A27D087-BD8F-5378-63D5-3C07B47E0378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503614" y="3929063"/>
            <a:ext cx="1047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bg1"/>
                </a:solidFill>
              </a:rPr>
              <a:t>-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32D376BA-2E23-24FD-3322-EAB99DAF3AC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606925" y="3740150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C4C2A1-F832-4EE0-A9CE-1695B47C7D2D}" type="datetime'''''''''''''''''''6''''''''''''''''''''''''8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8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DFED970-5C57-524A-BB6B-B941C8EF144C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5773738" y="369093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1E25D7-9BC3-4FE2-AEDD-10DBA544F8A5}" type="datetime'''''''''''''''8''''''''''''''''6'''''''''''''''''">
              <a:rPr lang="en-US" altLang="en-US" sz="1400" smtClean="0">
                <a:solidFill>
                  <a:schemeClr val="bg1"/>
                </a:solidFill>
              </a:rPr>
              <a:pPr/>
              <a:t>86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39FFDDE-B51A-6DDF-B437-838ED07B1A1C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6938963" y="373538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791E68-D82F-49D5-94AA-5EC473771570}" type="datetime'''''''''''''''''''''7''''''0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70</a:t>
            </a:fld>
            <a:endParaRPr lang="en-US" sz="1400">
              <a:solidFill>
                <a:schemeClr val="bg1"/>
              </a:solidFill>
            </a:endParaRPr>
          </a:p>
        </p:txBody>
      </p:sp>
      <p:graphicFrame>
        <p:nvGraphicFramePr>
          <p:cNvPr id="176" name="Chart 175">
            <a:extLst>
              <a:ext uri="{FF2B5EF4-FFF2-40B4-BE49-F238E27FC236}">
                <a16:creationId xmlns:a16="http://schemas.microsoft.com/office/drawing/2014/main" id="{BD5D2303-6BC7-DA32-9702-1345F70B13FF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78277090"/>
              </p:ext>
            </p:extLst>
          </p:nvPr>
        </p:nvGraphicFramePr>
        <p:xfrm>
          <a:off x="2890838" y="4540250"/>
          <a:ext cx="4830762" cy="927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51" name="Rectangle 150">
            <a:extLst>
              <a:ext uri="{FF2B5EF4-FFF2-40B4-BE49-F238E27FC236}">
                <a16:creationId xmlns:a16="http://schemas.microsoft.com/office/drawing/2014/main" id="{DE11036E-8BE9-D269-1ACF-584583CF44A5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503614" y="5289550"/>
            <a:ext cx="1047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bg1"/>
                </a:solidFill>
              </a:rPr>
              <a:t>-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002C88D-8D80-FE05-31C8-07E88BE889CA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606925" y="498792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DC6B79-120E-45D3-83E3-B0DFA8B2CFA9}" type="datetime'''''''''''88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88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592B64E-47B5-38C6-F529-5ADA938D42EE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5729288" y="490855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CC5E56-93BB-42C1-965C-100220268558}" type="datetime'''''''''''1''''''''''''''''1''''''''''''''''''''''''''1'">
              <a:rPr lang="en-US" altLang="en-US" sz="1400" smtClean="0">
                <a:solidFill>
                  <a:schemeClr val="bg1"/>
                </a:solidFill>
              </a:rPr>
              <a:pPr/>
              <a:t>111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63109D76-7CD9-A82B-4330-B33DE456001D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938963" y="512762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E1B220-1CE5-40D2-BC52-5FC23A7D30A2}" type="datetime'''''''''''4''''''''''''''''''''''''''''''''7'''''''''''">
              <a:rPr lang="en-US" altLang="en-US" sz="1400" smtClean="0">
                <a:solidFill>
                  <a:schemeClr val="bg1"/>
                </a:solidFill>
              </a:rPr>
              <a:pPr/>
              <a:t>47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5A6A760B-2702-171A-C5EA-4354FD729657}"/>
              </a:ext>
            </a:extLst>
          </p:cNvPr>
          <p:cNvSpPr txBox="1"/>
          <p:nvPr/>
        </p:nvSpPr>
        <p:spPr>
          <a:xfrm>
            <a:off x="8064500" y="1542181"/>
            <a:ext cx="358425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Once there is organizational buy-in to a dedicated advanced analytics function, this report recommends that the team looks offshore for additional resourc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is resourcing can come in the form of one FTE from the following categories: Data Analyst, and additional Data Engineer and a Machine Learning Engine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Given the salary disparity for offshore roles, the CEO should continue to target mid-level resources with familiarity in small and medium sized busine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anada, France, Great Britain and Spain represent viable offshoring options due to political stability, developed infrastructures and large English-speaking popul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verage Data Analyst salaries range from $40-80k, Data Engineers command $65-85k, and Machine Learning Engineers typically receive $50-120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11550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60D102-AA55-C315-929C-F1E787D168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335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60D102-AA55-C315-929C-F1E787D168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9A062F-85BE-F1F8-6145-F876EAC2A8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SE5002 PROJECT 1 | NEXT STEPS, CONSIDERA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984DD2-0781-6FDD-A9F4-592D2B578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, Considerations (resources to conduct technical interviews)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8FB6397-83D5-90F9-CD4E-D32E9BA2E31B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4F7FE9-BE1D-7CC5-5719-720E7E85DB7A}"/>
              </a:ext>
            </a:extLst>
          </p:cNvPr>
          <p:cNvCxnSpPr>
            <a:cxnSpLocks/>
          </p:cNvCxnSpPr>
          <p:nvPr/>
        </p:nvCxnSpPr>
        <p:spPr>
          <a:xfrm>
            <a:off x="353906" y="1563995"/>
            <a:ext cx="113173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14C657A-0650-16FC-C24B-C5C3107BDF91}"/>
              </a:ext>
            </a:extLst>
          </p:cNvPr>
          <p:cNvSpPr txBox="1"/>
          <p:nvPr/>
        </p:nvSpPr>
        <p:spPr>
          <a:xfrm>
            <a:off x="313873" y="1206621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US Data Scientist and Engineer salaries,</a:t>
            </a:r>
            <a:r>
              <a:rPr lang="en-US" sz="1400" dirty="0"/>
              <a:t> by experience level</a:t>
            </a:r>
            <a:r>
              <a:rPr lang="en-US" sz="1400" baseline="30000" dirty="0"/>
              <a:t>1</a:t>
            </a:r>
            <a:r>
              <a:rPr lang="en-US" sz="1400" dirty="0"/>
              <a:t>, 2022,</a:t>
            </a:r>
            <a:r>
              <a:rPr lang="en-US" sz="1400" b="1" dirty="0"/>
              <a:t> </a:t>
            </a:r>
            <a:r>
              <a:rPr lang="en-US" sz="1400" dirty="0"/>
              <a:t>US$000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0D62D0-2165-7EFC-8721-61AC5FDA892D}"/>
              </a:ext>
            </a:extLst>
          </p:cNvPr>
          <p:cNvSpPr txBox="1"/>
          <p:nvPr/>
        </p:nvSpPr>
        <p:spPr>
          <a:xfrm>
            <a:off x="313873" y="1905243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List of recruiters</a:t>
            </a:r>
            <a:endParaRPr lang="en-US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72294B-5C60-DC8B-450D-A9AE0084C7E1}"/>
              </a:ext>
            </a:extLst>
          </p:cNvPr>
          <p:cNvSpPr txBox="1"/>
          <p:nvPr/>
        </p:nvSpPr>
        <p:spPr>
          <a:xfrm>
            <a:off x="313873" y="3275111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Partners to facilitate overseas hiring</a:t>
            </a:r>
            <a:endParaRPr lang="en-US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6983F3-A47F-B7D5-8F46-02327D6587BD}"/>
              </a:ext>
            </a:extLst>
          </p:cNvPr>
          <p:cNvSpPr txBox="1"/>
          <p:nvPr/>
        </p:nvSpPr>
        <p:spPr>
          <a:xfrm>
            <a:off x="4746173" y="1905243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orn  Ferry, IQ Partners, </a:t>
            </a:r>
            <a:r>
              <a:rPr lang="en-US" sz="1400" b="1" dirty="0" err="1"/>
              <a:t>Randstand</a:t>
            </a:r>
            <a:r>
              <a:rPr lang="en-US" sz="1400" b="1" dirty="0"/>
              <a:t>, </a:t>
            </a:r>
            <a:r>
              <a:rPr lang="en-US" sz="1400" b="1" dirty="0" err="1"/>
              <a:t>HackerRank</a:t>
            </a:r>
            <a:endParaRPr lang="en-US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B11471B-590E-D050-2B76-D86A0634E6CA}"/>
              </a:ext>
            </a:extLst>
          </p:cNvPr>
          <p:cNvSpPr txBox="1"/>
          <p:nvPr/>
        </p:nvSpPr>
        <p:spPr>
          <a:xfrm>
            <a:off x="4746173" y="3203292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eel, Ripping, Remote.com, Papaya Global</a:t>
            </a:r>
            <a:endParaRPr lang="en-US" sz="1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D971E7-6150-B766-F228-C358B44DEEF2}"/>
              </a:ext>
            </a:extLst>
          </p:cNvPr>
          <p:cNvSpPr txBox="1"/>
          <p:nvPr/>
        </p:nvSpPr>
        <p:spPr>
          <a:xfrm>
            <a:off x="8200573" y="1905243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Logos</a:t>
            </a:r>
            <a:endParaRPr lang="en-US" sz="1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CB9A9B-E990-6AB8-D987-49F3A157F9C3}"/>
              </a:ext>
            </a:extLst>
          </p:cNvPr>
          <p:cNvSpPr txBox="1"/>
          <p:nvPr/>
        </p:nvSpPr>
        <p:spPr>
          <a:xfrm>
            <a:off x="8200573" y="3203292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Logos</a:t>
            </a:r>
            <a:endParaRPr lang="en-US" sz="1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84B6DE-0B16-D287-9E8A-1417436B50B8}"/>
              </a:ext>
            </a:extLst>
          </p:cNvPr>
          <p:cNvSpPr txBox="1"/>
          <p:nvPr/>
        </p:nvSpPr>
        <p:spPr>
          <a:xfrm>
            <a:off x="8200573" y="4684567"/>
            <a:ext cx="57821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Logo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8160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JGnR_ZALoahoxezfUl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biN_Pc1subMPyba.Mj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M5oBJf.E0_oXCNpd.S_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VHv2F8TnQiFEdf0BoL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diMKuhX6kYfKEi8nl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xaasYHLTSkWpH.8DXS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20HHluHWtLF1F15itu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KqgzEvFjeV.BowsHbw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UErUCCMvVjbugi4Vut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0AkeEN5oO2laouCiOl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ekVcjPpFmxmW_m_5c5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k4s_lr.aieaa6.cEp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cYr98xuYCjxAh3vl4D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CC4v5NDuQeNuDBeQbD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c.aqtIzi0cMhvk5bqR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0IVmEapqTx74gaPDg3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1j7IuIF8w0qZL70YA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AKLR3Lmlh.OkFYA3uO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LuwI3mmjAVEX8hKxup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kaqPIMJducWOe9gQzA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BumUATpcdoZOqB6VN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wGV3kpIpdXhyKhAxXD9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c8k0FgsrErY1kbWc60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XBWuIY7EHznv9zMI1L7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MQ244jhOOE3_OxHu7N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aqnJg02nUOOpKHBKtNL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XRBcHPdYcGLgD3SAG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1Wwclm5PqrJFe.AJCv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_YUrax66Bt9IHLEqco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ZhzrrUegRc65blsmrd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73j7CEDR4QuY91XOFN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jz5mZ56FpmvxcL0F6_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jNkWs0Dyq99j8eUg7C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uAPhu94Vmt1SygDQU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DeJrYD.B2mU_bIZxXn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1_fde6HHb42xLGIWHX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BntUd.oO8cHNP.J7xL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gWmyar2_SuNtBJPXtj9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8MKY9Jeizj8yfV51lf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aqnJg02nUOOpKHBKt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4CzmbltvChxORENpuxc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h0E_1CQOuIhqwGFt7V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bBuy4GCQp75sXtTRte8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96iJyPUSxEG.HShjrF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WncxnIpg5yTu7nw_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U5Pev3s9dFo0.jPPBw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bPcZbQCM09.YqbwKY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9Y21VoPaNr0rwaltjZ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9AfR9BndJY9MT3Jxwjm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.o3FEFjm5CIl5fnPpQ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KQTB_VrjNuo.ydcYg6b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RvIDSA0R9KlfJGytB7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eTIAFHqy6pTPZgPbYE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xOnXCzuaiTEylLtc6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xnbBgSna7iKeF2yNVa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WZHYuGmlzssO4fmg0V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nV8bDf.DGOzM7DHzrX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cWK4sPFEAGaMHR2h7F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lc5Xo2jLfxUpyQIGsD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84tqitSL3hDAIC.969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1Wwclm5PqrJFe.AJCvJ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gUNpjrg23uGnX0vLt_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Johg9.c.J2Ivm91nCh6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PpthKMWDxh6CQljKL62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_ad1DtUoemJ.m7rYiUe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qk06Sr53E2NpMYL.c1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qj3nuxmLHlLBm7dP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ieVMXoKAIn89c98xCA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R6HoZYB9VZ45VXnqXY4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SFllwQ.kx.nYn4Pvn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iZ2v711L7.zpc1Lr8wKg"/>
</p:tagLst>
</file>

<file path=ppt/theme/theme1.xml><?xml version="1.0" encoding="utf-8"?>
<a:theme xmlns:a="http://schemas.openxmlformats.org/drawingml/2006/main" name="Summit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weetWaterApopka_Opportunity Summary" id="{0933061B-3A63-4BF6-8B13-6CAF3FA95386}" vid="{F3150B78-4260-45FA-B5AF-E758FE7FFB9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ummit Template</Template>
  <TotalTime>1976</TotalTime>
  <Words>900</Words>
  <Application>Microsoft Office PowerPoint</Application>
  <PresentationFormat>Widescreen</PresentationFormat>
  <Paragraphs>13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Arial Nova</vt:lpstr>
      <vt:lpstr>Calibri</vt:lpstr>
      <vt:lpstr>Summit Template</vt:lpstr>
      <vt:lpstr>think-cell Slide</vt:lpstr>
      <vt:lpstr>Executive Summary</vt:lpstr>
      <vt:lpstr>Familiarizing ourselves with the key roles within the data science ecosystems allows us to identify which titles we should prioritize for foundation</vt:lpstr>
      <vt:lpstr>This report recommends building the internal analytics unit using two US based FTE, a mid-level Data Engineer and a Sr. Level Data Scientist</vt:lpstr>
      <vt:lpstr>Future team structure</vt:lpstr>
      <vt:lpstr>Next Steps, Considerations (resources to conduct technical interviews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J Grant</dc:creator>
  <cp:lastModifiedBy>PJ Grant</cp:lastModifiedBy>
  <cp:revision>1</cp:revision>
  <dcterms:created xsi:type="dcterms:W3CDTF">2024-11-29T17:37:10Z</dcterms:created>
  <dcterms:modified xsi:type="dcterms:W3CDTF">2024-12-01T02:3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4-11-29T17:37:19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da123193-cb2c-4874-9e5e-26a2f0c33d57</vt:lpwstr>
  </property>
  <property fmtid="{D5CDD505-2E9C-101B-9397-08002B2CF9AE}" pid="7" name="MSIP_Label_defa4170-0d19-0005-0004-bc88714345d2_ActionId">
    <vt:lpwstr>9393704b-a728-4e8f-912d-a08750c0bc48</vt:lpwstr>
  </property>
  <property fmtid="{D5CDD505-2E9C-101B-9397-08002B2CF9AE}" pid="8" name="MSIP_Label_defa4170-0d19-0005-0004-bc88714345d2_ContentBits">
    <vt:lpwstr>0</vt:lpwstr>
  </property>
</Properties>
</file>